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gif" ContentType="image/gif"/>
  <Override PartName="/ppt/notesSlides/notesSlide8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66" r:id="rId4"/>
    <p:sldId id="267" r:id="rId5"/>
    <p:sldId id="260" r:id="rId6"/>
    <p:sldId id="264" r:id="rId7"/>
    <p:sldId id="265" r:id="rId8"/>
    <p:sldId id="263" r:id="rId9"/>
    <p:sldId id="261" r:id="rId10"/>
    <p:sldId id="258" r:id="rId11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206243"/>
    <a:srgbClr val="1F5AF1"/>
    <a:srgbClr val="5DC3FC"/>
    <a:srgbClr val="0F7706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21"/>
    <p:restoredTop sz="96327"/>
  </p:normalViewPr>
  <p:slideViewPr>
    <p:cSldViewPr snapToGrid="0">
      <p:cViewPr>
        <p:scale>
          <a:sx n="86" d="100"/>
          <a:sy n="86" d="100"/>
        </p:scale>
        <p:origin x="-798" y="-7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7" d="100"/>
          <a:sy n="97" d="100"/>
        </p:scale>
        <p:origin x="4328" y="20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0D81C9-6BB1-5045-BAF3-C1F370DEEE06}" type="datetimeFigureOut">
              <a:rPr lang="ru-RU" smtClean="0"/>
              <a:pPr/>
              <a:t>29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21AB61-5F47-EA40-8346-CEC0DED9334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21628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21AB61-5F47-EA40-8346-CEC0DED93348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196688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21AB61-5F47-EA40-8346-CEC0DED93348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109353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21AB61-5F47-EA40-8346-CEC0DED93348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21776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21AB61-5F47-EA40-8346-CEC0DED93348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217767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21AB61-5F47-EA40-8346-CEC0DED93348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217767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21AB61-5F47-EA40-8346-CEC0DED93348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217767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21AB61-5F47-EA40-8346-CEC0DED93348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109353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21AB61-5F47-EA40-8346-CEC0DED93348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12106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452723B-8FF7-A091-BDF9-0BBDA106FC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8151650A-5316-11AB-BF8B-B757BD7C77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BA0E31C0-F0A0-2584-3FF1-A8ADF3AFBB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BB64E-D2CE-4F47-8D98-A6F0875370DA}" type="datetimeFigureOut">
              <a:rPr lang="ru-RU" smtClean="0"/>
              <a:pPr/>
              <a:t>29.09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917136D9-CE90-82C5-EE83-6C1F211AC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357E320B-BEA3-173A-7F7B-2CBD43E3E3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59A36-A056-B745-92A7-D9DD034DD0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495162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2CF9738-A6C8-9E77-EF15-747D367700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BE6816AA-DCC5-B554-7E60-304EB06922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75149B78-BA9A-4B41-D2DA-9C733C3EB3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BB64E-D2CE-4F47-8D98-A6F0875370DA}" type="datetimeFigureOut">
              <a:rPr lang="ru-RU" smtClean="0"/>
              <a:pPr/>
              <a:t>29.09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DD7E814B-C2B0-1AAC-7A17-F1F2997800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43D48659-3E12-F9A8-C9E9-023EB9D7C2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59A36-A056-B745-92A7-D9DD034DD0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7836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FD9EEC28-97C8-0761-8C56-F95F69160BA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15946F61-8F7D-F4BB-2BA9-6BADFAFD5D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8C6E8FDA-8191-9C53-C5CE-44E678FE44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BB64E-D2CE-4F47-8D98-A6F0875370DA}" type="datetimeFigureOut">
              <a:rPr lang="ru-RU" smtClean="0"/>
              <a:pPr/>
              <a:t>29.09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498A845F-DD36-9D18-22F5-C31B5D8ED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FB7C6AAF-CE90-0603-D960-BCC80910B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59A36-A056-B745-92A7-D9DD034DD0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35534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A0C6781-2047-F05D-281B-A29AFFC1C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49950D11-83A9-F269-474D-EF7A56659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7FF3392B-F7D5-12DA-AA93-FE492BCD9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BB64E-D2CE-4F47-8D98-A6F0875370DA}" type="datetimeFigureOut">
              <a:rPr lang="ru-RU" smtClean="0"/>
              <a:pPr/>
              <a:t>29.09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DE6F0051-7642-A970-BDC3-1FBD6D66F3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F4AD5169-D98A-9918-94BE-631CE1609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59A36-A056-B745-92A7-D9DD034DD0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511522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DCDAF2E-6275-5B80-15E3-A77856D19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4AE4A502-5250-3B6C-60F7-A2ADD2BC7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2B418D50-113D-137C-A992-6BBD032247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BB64E-D2CE-4F47-8D98-A6F0875370DA}" type="datetimeFigureOut">
              <a:rPr lang="ru-RU" smtClean="0"/>
              <a:pPr/>
              <a:t>29.09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32B241FD-C683-EE97-283F-A3C8FB370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474C972-7DF3-0855-83D7-97E3826CBA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59A36-A056-B745-92A7-D9DD034DD0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060475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E84ACE12-C486-26E7-B85E-76194CB33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B9D02F3E-6C4D-BC40-619E-E258EB7099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9354A611-AFDC-2812-6B57-1848034717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3BA748A4-0CB9-E0B6-1575-CD628C25E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BB64E-D2CE-4F47-8D98-A6F0875370DA}" type="datetimeFigureOut">
              <a:rPr lang="ru-RU" smtClean="0"/>
              <a:pPr/>
              <a:t>29.09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1B75F105-78F6-9056-327E-8DCC20D2B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C34D6971-B8BC-231C-4815-EA7252121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59A36-A056-B745-92A7-D9DD034DD0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224138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9E1050B-8DA4-D2F0-766E-EA0786C2D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F937BB25-CDEE-692B-02E6-AEC4274D36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EBD32B5E-613C-776F-88B0-4EA46995E8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5F5E21C6-F5B8-36FF-9216-678B2FD8C2C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F1D09D07-994F-1D0E-3BE6-071B2B0649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89094C81-8475-7D2D-EC61-004850B887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BB64E-D2CE-4F47-8D98-A6F0875370DA}" type="datetimeFigureOut">
              <a:rPr lang="ru-RU" smtClean="0"/>
              <a:pPr/>
              <a:t>29.09.2022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A0A67DE8-029C-14D9-6064-910AA342D3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CD64A54C-FD6C-2822-22FE-EA2CCBE40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59A36-A056-B745-92A7-D9DD034DD0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426815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5BF86EA-6353-CA7D-0E99-398094A04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DD09A3E1-DDB2-FECD-9109-851F2C83D7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BB64E-D2CE-4F47-8D98-A6F0875370DA}" type="datetimeFigureOut">
              <a:rPr lang="ru-RU" smtClean="0"/>
              <a:pPr/>
              <a:t>29.09.2022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DF175358-560E-284F-A49F-2581DF9F4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E22A5AC-2924-5580-0610-30C81EF67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59A36-A056-B745-92A7-D9DD034DD0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543247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75945A46-5C7C-A6A6-6D39-96BF090CA5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BB64E-D2CE-4F47-8D98-A6F0875370DA}" type="datetimeFigureOut">
              <a:rPr lang="ru-RU" smtClean="0"/>
              <a:pPr/>
              <a:t>29.09.2022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B4A7ED3C-F3D6-E856-6786-9E9559F51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8B6D9BDB-DC30-343D-D634-A1C94C271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59A36-A056-B745-92A7-D9DD034DD0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808518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AF5F8726-B0C6-4E88-4307-B311A5C46F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03E34C89-1238-91F0-394D-35528E2480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C7474FB8-82B6-ED2F-A7B8-BF3C075AD2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BE81D48F-A7F9-90FD-B560-A5903F270F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BB64E-D2CE-4F47-8D98-A6F0875370DA}" type="datetimeFigureOut">
              <a:rPr lang="ru-RU" smtClean="0"/>
              <a:pPr/>
              <a:t>29.09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15450263-846D-823D-02E3-652535377E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27153330-684A-3EFF-8892-6D9083589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59A36-A056-B745-92A7-D9DD034DD0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240217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446206FA-5128-8C46-7093-8607F9C50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F1E2DE97-E28B-4C90-617C-2A145365BD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4217F860-62B3-13A0-A850-8BF81E0B2F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D9560596-CC56-CA8F-9A27-58AAF214E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BB64E-D2CE-4F47-8D98-A6F0875370DA}" type="datetimeFigureOut">
              <a:rPr lang="ru-RU" smtClean="0"/>
              <a:pPr/>
              <a:t>29.09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CE236762-7E5A-F533-136F-0BE3C0FAA3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B1C29E92-E243-040E-A528-08C3ED955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959A36-A056-B745-92A7-D9DD034DD0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712434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CAE9C8F-7405-99AE-9196-790D9FDD04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4163FE9E-33FB-B062-184D-474648F18C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E00D2F06-6E71-2A03-0A26-EDF050BFF3B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8BB64E-D2CE-4F47-8D98-A6F0875370DA}" type="datetimeFigureOut">
              <a:rPr lang="ru-RU" smtClean="0"/>
              <a:pPr/>
              <a:t>29.09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5F179240-45E8-CE1C-887A-A048664530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24E86A2F-1A7E-0F9A-70EB-E5A40A081C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959A36-A056-B745-92A7-D9DD034DD08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92580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.png"/><Relationship Id="rId5" Type="http://schemas.openxmlformats.org/officeDocument/2006/relationships/image" Target="../media/image3.gif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4" name="Picture 4" descr="https://sun9-53.userapi.com/impg/4Jt5k6DUTt82DcloRMbh3WXKCB-Tm1jUytAqnA/OIZHD9bZVFo.jpg?size=2560x1707&amp;quality=96&amp;sign=7f74c111b6b9a093de5e88432487cdff&amp;type=album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6868647" y="2107833"/>
            <a:ext cx="5006692" cy="3540363"/>
          </a:xfrm>
          <a:prstGeom prst="rect">
            <a:avLst/>
          </a:prstGeom>
          <a:noFill/>
          <a:ln>
            <a:solidFill>
              <a:srgbClr val="206243"/>
            </a:solidFill>
          </a:ln>
        </p:spPr>
      </p:pic>
      <p:sp>
        <p:nvSpPr>
          <p:cNvPr id="14" name="Заголовок 13">
            <a:extLst>
              <a:ext uri="{FF2B5EF4-FFF2-40B4-BE49-F238E27FC236}">
                <a16:creationId xmlns="" xmlns:a16="http://schemas.microsoft.com/office/drawing/2014/main" id="{CEB5545F-7FC3-064C-D145-7517AD40C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6735" y="2913775"/>
            <a:ext cx="5308644" cy="1861425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</a:pPr>
            <a:r>
              <a:rPr lang="ru-RU" sz="2500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ПРОФЕССИОНАЛЬНАЯ СТАЖИРОВОЧНАЯ </a:t>
            </a:r>
            <a:r>
              <a:rPr lang="ru-RU" sz="2500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ПЛОЩАДКА:</a:t>
            </a:r>
            <a:br>
              <a:rPr lang="ru-RU" sz="2500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</a:br>
            <a:r>
              <a:rPr lang="ru-RU" sz="2500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«Выездной </a:t>
            </a:r>
            <a:r>
              <a:rPr lang="ru-RU" sz="2500" dirty="0" err="1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микрореабилитационный</a:t>
            </a:r>
            <a:r>
              <a:rPr lang="ru-RU" sz="2500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 центр»</a:t>
            </a:r>
          </a:p>
        </p:txBody>
      </p:sp>
      <p:sp>
        <p:nvSpPr>
          <p:cNvPr id="16" name="Текст 15">
            <a:extLst>
              <a:ext uri="{FF2B5EF4-FFF2-40B4-BE49-F238E27FC236}">
                <a16:creationId xmlns="" xmlns:a16="http://schemas.microsoft.com/office/drawing/2014/main" id="{443A9B7F-BFAC-2062-97B0-1B0207635D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6613" y="5180496"/>
            <a:ext cx="5256212" cy="356897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000" dirty="0" smtClean="0">
                <a:solidFill>
                  <a:srgbClr val="002060"/>
                </a:solidFill>
              </a:rPr>
              <a:t>Ольга Сергеевна </a:t>
            </a:r>
            <a:r>
              <a:rPr lang="ru-RU" sz="2000" dirty="0" err="1" smtClean="0">
                <a:solidFill>
                  <a:srgbClr val="002060"/>
                </a:solidFill>
              </a:rPr>
              <a:t>Кортугова</a:t>
            </a:r>
            <a:r>
              <a:rPr lang="ru-RU" sz="2000" dirty="0" smtClean="0">
                <a:solidFill>
                  <a:srgbClr val="002060"/>
                </a:solidFill>
              </a:rPr>
              <a:t>,</a:t>
            </a:r>
            <a:endParaRPr lang="ru-RU" sz="2000" dirty="0" smtClean="0">
              <a:solidFill>
                <a:srgbClr val="002060"/>
              </a:solidFill>
            </a:endParaRPr>
          </a:p>
          <a:p>
            <a:pPr>
              <a:defRPr/>
            </a:pPr>
            <a:r>
              <a:rPr lang="ru-RU" sz="2000" dirty="0" smtClean="0">
                <a:solidFill>
                  <a:srgbClr val="002060"/>
                </a:solidFill>
              </a:rPr>
              <a:t>методист БУ СО ВО «КЦСОН «Забота»</a:t>
            </a:r>
            <a:endParaRPr lang="ru-RU" sz="2000" dirty="0">
              <a:solidFill>
                <a:srgbClr val="002060"/>
              </a:solidFill>
            </a:endParaRPr>
          </a:p>
        </p:txBody>
      </p:sp>
      <p:pic>
        <p:nvPicPr>
          <p:cNvPr id="31" name="Рисунок 30">
            <a:extLst>
              <a:ext uri="{FF2B5EF4-FFF2-40B4-BE49-F238E27FC236}">
                <a16:creationId xmlns="" xmlns:a16="http://schemas.microsoft.com/office/drawing/2014/main" id="{910F46D3-AE8F-DBA7-C0AA-E975F059E0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72028" y="623769"/>
            <a:ext cx="1151852" cy="113780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A096BCB7-15C3-A9B7-9140-6F3B7525A6B4}"/>
              </a:ext>
            </a:extLst>
          </p:cNvPr>
          <p:cNvSpPr txBox="1"/>
          <p:nvPr/>
        </p:nvSpPr>
        <p:spPr>
          <a:xfrm>
            <a:off x="836613" y="2584174"/>
            <a:ext cx="49976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Доклад: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="" xmlns:a16="http://schemas.microsoft.com/office/drawing/2014/main" id="{4CFFCC89-4197-E071-0E72-A6A221C5D913}"/>
              </a:ext>
            </a:extLst>
          </p:cNvPr>
          <p:cNvCxnSpPr/>
          <p:nvPr/>
        </p:nvCxnSpPr>
        <p:spPr>
          <a:xfrm>
            <a:off x="836613" y="5028648"/>
            <a:ext cx="5236334" cy="0"/>
          </a:xfrm>
          <a:prstGeom prst="line">
            <a:avLst/>
          </a:prstGeom>
          <a:ln w="38100">
            <a:gradFill>
              <a:gsLst>
                <a:gs pos="0">
                  <a:srgbClr val="5DC3FC"/>
                </a:gs>
                <a:gs pos="100000">
                  <a:srgbClr val="206243"/>
                </a:gs>
              </a:gsLst>
              <a:lin ang="6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15">
            <a:extLst>
              <a:ext uri="{FF2B5EF4-FFF2-40B4-BE49-F238E27FC236}">
                <a16:creationId xmlns="" xmlns:a16="http://schemas.microsoft.com/office/drawing/2014/main" id="{ABFE3DB2-642B-9E5F-09BB-5AADEC00CFC7}"/>
              </a:ext>
            </a:extLst>
          </p:cNvPr>
          <p:cNvSpPr txBox="1">
            <a:spLocks/>
          </p:cNvSpPr>
          <p:nvPr/>
        </p:nvSpPr>
        <p:spPr>
          <a:xfrm>
            <a:off x="869664" y="5887611"/>
            <a:ext cx="5256212" cy="3568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srgbClr val="002060"/>
                </a:solidFill>
              </a:rPr>
              <a:t>город Череповец, Вологодская область</a:t>
            </a:r>
            <a:endParaRPr lang="ru-RU" dirty="0">
              <a:solidFill>
                <a:srgbClr val="002060"/>
              </a:solidFill>
            </a:endParaRPr>
          </a:p>
        </p:txBody>
      </p:sp>
      <p:pic>
        <p:nvPicPr>
          <p:cNvPr id="19" name="Picture 2" descr="https://vologda-oblast.ru/images/o_regione/simvolika/Gerb1.gif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654033" y="594911"/>
            <a:ext cx="1018777" cy="1327697"/>
          </a:xfrm>
          <a:prstGeom prst="rect">
            <a:avLst/>
          </a:prstGeom>
          <a:noFill/>
        </p:spPr>
      </p:pic>
      <p:pic>
        <p:nvPicPr>
          <p:cNvPr id="13" name="Picture 2" descr="\\SETKA\shared\Кортугова О.С\ЛОГО\лого кружка забота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753340" y="600749"/>
            <a:ext cx="1299991" cy="129999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047192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FC96DA1A-4EF2-FB00-401D-D85E39A3C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6697" y="2819112"/>
            <a:ext cx="1889555" cy="566223"/>
          </a:xfrm>
        </p:spPr>
        <p:txBody>
          <a:bodyPr>
            <a:normAutofit fontScale="90000"/>
          </a:bodyPr>
          <a:lstStyle/>
          <a:p>
            <a:r>
              <a:rPr lang="ru-RU" dirty="0">
                <a:solidFill>
                  <a:srgbClr val="002060"/>
                </a:solidFill>
                <a:latin typeface="+mn-lt"/>
              </a:rPr>
              <a:t>Контакты:</a:t>
            </a:r>
          </a:p>
        </p:txBody>
      </p:sp>
      <p:sp>
        <p:nvSpPr>
          <p:cNvPr id="10" name="Текст 15">
            <a:extLst>
              <a:ext uri="{FF2B5EF4-FFF2-40B4-BE49-F238E27FC236}">
                <a16:creationId xmlns="" xmlns:a16="http://schemas.microsoft.com/office/drawing/2014/main" id="{F8A3FDD6-4A5C-7C7B-C958-C874C28418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23996" y="3599872"/>
            <a:ext cx="5444591" cy="382363"/>
          </a:xfrm>
        </p:spPr>
        <p:txBody>
          <a:bodyPr>
            <a:noAutofit/>
          </a:bodyPr>
          <a:lstStyle/>
          <a:p>
            <a:r>
              <a:rPr lang="ru-RU" sz="2500" dirty="0" smtClean="0">
                <a:solidFill>
                  <a:srgbClr val="002060"/>
                </a:solidFill>
              </a:rPr>
              <a:t>Телефон: 8 (8202) 26-32-50</a:t>
            </a:r>
            <a:endParaRPr lang="ru-RU" sz="2500" dirty="0">
              <a:solidFill>
                <a:srgbClr val="002060"/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B01327DD-E499-3638-5276-ED2E14D89E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72028" y="682550"/>
            <a:ext cx="1151852" cy="1137805"/>
          </a:xfrm>
          <a:prstGeom prst="rect">
            <a:avLst/>
          </a:prstGeom>
        </p:spPr>
      </p:pic>
      <p:sp>
        <p:nvSpPr>
          <p:cNvPr id="2" name="Текст 15">
            <a:extLst>
              <a:ext uri="{FF2B5EF4-FFF2-40B4-BE49-F238E27FC236}">
                <a16:creationId xmlns="" xmlns:a16="http://schemas.microsoft.com/office/drawing/2014/main" id="{5234DE73-2E94-A82C-CF97-CC4A3D44ADC7}"/>
              </a:ext>
            </a:extLst>
          </p:cNvPr>
          <p:cNvSpPr txBox="1">
            <a:spLocks/>
          </p:cNvSpPr>
          <p:nvPr/>
        </p:nvSpPr>
        <p:spPr>
          <a:xfrm>
            <a:off x="2136697" y="4196772"/>
            <a:ext cx="6390358" cy="3823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500" dirty="0">
                <a:solidFill>
                  <a:srgbClr val="002060"/>
                </a:solidFill>
              </a:rPr>
              <a:t>E-mail</a:t>
            </a:r>
            <a:r>
              <a:rPr lang="ru-RU" sz="2500" dirty="0">
                <a:solidFill>
                  <a:srgbClr val="002060"/>
                </a:solidFill>
              </a:rPr>
              <a:t>: </a:t>
            </a:r>
            <a:r>
              <a:rPr lang="en-US" sz="2500" dirty="0" smtClean="0">
                <a:solidFill>
                  <a:srgbClr val="002060"/>
                </a:solidFill>
              </a:rPr>
              <a:t>zabota-cher@kcson.gov35.ru</a:t>
            </a:r>
          </a:p>
          <a:p>
            <a:r>
              <a:rPr lang="ru-RU" sz="2500" dirty="0" smtClean="0">
                <a:solidFill>
                  <a:srgbClr val="002060"/>
                </a:solidFill>
              </a:rPr>
              <a:t>             </a:t>
            </a:r>
            <a:r>
              <a:rPr lang="en-US" sz="2500" dirty="0" smtClean="0">
                <a:solidFill>
                  <a:srgbClr val="002060"/>
                </a:solidFill>
              </a:rPr>
              <a:t>preodoleniecher@mail.ru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77405BCF-E1AE-5057-463A-031F19F6FD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7417" y="0"/>
            <a:ext cx="164432" cy="6858000"/>
          </a:xfrm>
          <a:prstGeom prst="rect">
            <a:avLst/>
          </a:prstGeom>
        </p:spPr>
      </p:pic>
      <p:sp>
        <p:nvSpPr>
          <p:cNvPr id="9" name="Текст 15">
            <a:extLst>
              <a:ext uri="{FF2B5EF4-FFF2-40B4-BE49-F238E27FC236}">
                <a16:creationId xmlns="" xmlns:a16="http://schemas.microsoft.com/office/drawing/2014/main" id="{B0970138-1BF5-44FE-2360-8BBF1DB0B2F0}"/>
              </a:ext>
            </a:extLst>
          </p:cNvPr>
          <p:cNvSpPr txBox="1">
            <a:spLocks/>
          </p:cNvSpPr>
          <p:nvPr/>
        </p:nvSpPr>
        <p:spPr>
          <a:xfrm>
            <a:off x="836611" y="5989605"/>
            <a:ext cx="469675" cy="3568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smtClean="0">
                <a:solidFill>
                  <a:srgbClr val="002060"/>
                </a:solidFill>
              </a:rPr>
              <a:t>09</a:t>
            </a:r>
            <a:endParaRPr lang="ru-RU" sz="2000" dirty="0">
              <a:solidFill>
                <a:srgbClr val="002060"/>
              </a:solidFill>
            </a:endParaRPr>
          </a:p>
        </p:txBody>
      </p:sp>
      <p:pic>
        <p:nvPicPr>
          <p:cNvPr id="17" name="Picture 2" descr="https://vologda-oblast.ru/images/o_regione/simvolika/Gerb1.gif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444713" y="561859"/>
            <a:ext cx="1206063" cy="1571773"/>
          </a:xfrm>
          <a:prstGeom prst="rect">
            <a:avLst/>
          </a:prstGeom>
          <a:noFill/>
        </p:spPr>
      </p:pic>
      <p:pic>
        <p:nvPicPr>
          <p:cNvPr id="16" name="Picture 2" descr="\\SETKA\shared\Кортугова О.С\ЛОГО\лого кружка забота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49010" y="578715"/>
            <a:ext cx="1459405" cy="14594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4263601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FC96DA1A-4EF2-FB00-401D-D85E39A3C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05478"/>
            <a:ext cx="10515600" cy="931222"/>
          </a:xfrm>
        </p:spPr>
        <p:txBody>
          <a:bodyPr anchor="t">
            <a:normAutofit fontScale="90000"/>
          </a:bodyPr>
          <a:lstStyle/>
          <a:p>
            <a:r>
              <a:rPr lang="ru-RU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Ключевые направления работы БУ СО ВО «КЦСОН «Забота»</a:t>
            </a:r>
            <a:endParaRPr lang="ru-RU" dirty="0"/>
          </a:p>
        </p:txBody>
      </p:sp>
      <p:sp>
        <p:nvSpPr>
          <p:cNvPr id="3" name="Текст 15">
            <a:extLst>
              <a:ext uri="{FF2B5EF4-FFF2-40B4-BE49-F238E27FC236}">
                <a16:creationId xmlns="" xmlns:a16="http://schemas.microsoft.com/office/drawing/2014/main" id="{F3B07FBE-5BD2-3D04-FE8F-5B021FAEA1D6}"/>
              </a:ext>
            </a:extLst>
          </p:cNvPr>
          <p:cNvSpPr txBox="1">
            <a:spLocks/>
          </p:cNvSpPr>
          <p:nvPr/>
        </p:nvSpPr>
        <p:spPr>
          <a:xfrm>
            <a:off x="836611" y="5989605"/>
            <a:ext cx="469675" cy="3568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smtClean="0">
                <a:solidFill>
                  <a:srgbClr val="002060"/>
                </a:solidFill>
              </a:rPr>
              <a:t>02</a:t>
            </a:r>
            <a:endParaRPr lang="ru-RU" sz="2000" dirty="0">
              <a:solidFill>
                <a:srgbClr val="002060"/>
              </a:solidFill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6F16AFE5-8C6F-8CBB-BA83-0884BBB557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7417" y="0"/>
            <a:ext cx="164432" cy="6858000"/>
          </a:xfrm>
          <a:prstGeom prst="rect">
            <a:avLst/>
          </a:prstGeom>
        </p:spPr>
      </p:pic>
      <p:sp>
        <p:nvSpPr>
          <p:cNvPr id="12" name="Freeform 6"/>
          <p:cNvSpPr>
            <a:spLocks/>
          </p:cNvSpPr>
          <p:nvPr/>
        </p:nvSpPr>
        <p:spPr bwMode="auto">
          <a:xfrm>
            <a:off x="405757" y="1671274"/>
            <a:ext cx="501650" cy="506412"/>
          </a:xfrm>
          <a:custGeom>
            <a:avLst/>
            <a:gdLst>
              <a:gd name="T0" fmla="*/ 134 w 134"/>
              <a:gd name="T1" fmla="*/ 36 h 135"/>
              <a:gd name="T2" fmla="*/ 134 w 134"/>
              <a:gd name="T3" fmla="*/ 98 h 135"/>
              <a:gd name="T4" fmla="*/ 98 w 134"/>
              <a:gd name="T5" fmla="*/ 135 h 135"/>
              <a:gd name="T6" fmla="*/ 36 w 134"/>
              <a:gd name="T7" fmla="*/ 135 h 135"/>
              <a:gd name="T8" fmla="*/ 0 w 134"/>
              <a:gd name="T9" fmla="*/ 98 h 135"/>
              <a:gd name="T10" fmla="*/ 0 w 134"/>
              <a:gd name="T11" fmla="*/ 36 h 135"/>
              <a:gd name="T12" fmla="*/ 36 w 134"/>
              <a:gd name="T13" fmla="*/ 0 h 135"/>
              <a:gd name="T14" fmla="*/ 134 w 134"/>
              <a:gd name="T15" fmla="*/ 0 h 135"/>
              <a:gd name="T16" fmla="*/ 134 w 134"/>
              <a:gd name="T17" fmla="*/ 36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4" h="135">
                <a:moveTo>
                  <a:pt x="134" y="36"/>
                </a:moveTo>
                <a:cubicBezTo>
                  <a:pt x="134" y="98"/>
                  <a:pt x="134" y="98"/>
                  <a:pt x="134" y="98"/>
                </a:cubicBezTo>
                <a:cubicBezTo>
                  <a:pt x="134" y="118"/>
                  <a:pt x="118" y="135"/>
                  <a:pt x="98" y="135"/>
                </a:cubicBezTo>
                <a:cubicBezTo>
                  <a:pt x="36" y="135"/>
                  <a:pt x="36" y="135"/>
                  <a:pt x="36" y="135"/>
                </a:cubicBezTo>
                <a:cubicBezTo>
                  <a:pt x="16" y="135"/>
                  <a:pt x="0" y="118"/>
                  <a:pt x="0" y="98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134" y="0"/>
                  <a:pt x="134" y="0"/>
                  <a:pt x="134" y="0"/>
                </a:cubicBezTo>
                <a:lnTo>
                  <a:pt x="134" y="3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  <a:extLst/>
        </p:spPr>
        <p:txBody>
          <a:bodyPr/>
          <a:lstStyle/>
          <a:p>
            <a:pPr defTabSz="816337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kern="0">
              <a:solidFill>
                <a:sysClr val="windowText" lastClr="000000"/>
              </a:solidFill>
              <a:latin typeface="Calibri"/>
              <a:cs typeface="+mn-cs"/>
            </a:endParaRPr>
          </a:p>
        </p:txBody>
      </p:sp>
      <p:sp>
        <p:nvSpPr>
          <p:cNvPr id="13" name="Freeform 13"/>
          <p:cNvSpPr>
            <a:spLocks/>
          </p:cNvSpPr>
          <p:nvPr/>
        </p:nvSpPr>
        <p:spPr bwMode="auto">
          <a:xfrm>
            <a:off x="405757" y="2463436"/>
            <a:ext cx="506412" cy="506413"/>
          </a:xfrm>
          <a:custGeom>
            <a:avLst/>
            <a:gdLst>
              <a:gd name="T0" fmla="*/ 135 w 135"/>
              <a:gd name="T1" fmla="*/ 36 h 135"/>
              <a:gd name="T2" fmla="*/ 135 w 135"/>
              <a:gd name="T3" fmla="*/ 98 h 135"/>
              <a:gd name="T4" fmla="*/ 98 w 135"/>
              <a:gd name="T5" fmla="*/ 135 h 135"/>
              <a:gd name="T6" fmla="*/ 37 w 135"/>
              <a:gd name="T7" fmla="*/ 135 h 135"/>
              <a:gd name="T8" fmla="*/ 0 w 135"/>
              <a:gd name="T9" fmla="*/ 98 h 135"/>
              <a:gd name="T10" fmla="*/ 0 w 135"/>
              <a:gd name="T11" fmla="*/ 36 h 135"/>
              <a:gd name="T12" fmla="*/ 37 w 135"/>
              <a:gd name="T13" fmla="*/ 0 h 135"/>
              <a:gd name="T14" fmla="*/ 135 w 135"/>
              <a:gd name="T15" fmla="*/ 0 h 135"/>
              <a:gd name="T16" fmla="*/ 135 w 135"/>
              <a:gd name="T17" fmla="*/ 36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5" h="135">
                <a:moveTo>
                  <a:pt x="135" y="36"/>
                </a:moveTo>
                <a:cubicBezTo>
                  <a:pt x="135" y="98"/>
                  <a:pt x="135" y="98"/>
                  <a:pt x="135" y="98"/>
                </a:cubicBezTo>
                <a:cubicBezTo>
                  <a:pt x="135" y="118"/>
                  <a:pt x="118" y="135"/>
                  <a:pt x="98" y="135"/>
                </a:cubicBezTo>
                <a:cubicBezTo>
                  <a:pt x="37" y="135"/>
                  <a:pt x="37" y="135"/>
                  <a:pt x="37" y="135"/>
                </a:cubicBezTo>
                <a:cubicBezTo>
                  <a:pt x="16" y="135"/>
                  <a:pt x="0" y="118"/>
                  <a:pt x="0" y="98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16"/>
                  <a:pt x="16" y="0"/>
                  <a:pt x="37" y="0"/>
                </a:cubicBezTo>
                <a:cubicBezTo>
                  <a:pt x="135" y="0"/>
                  <a:pt x="135" y="0"/>
                  <a:pt x="135" y="0"/>
                </a:cubicBezTo>
                <a:lnTo>
                  <a:pt x="135" y="36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xtLst/>
        </p:spPr>
        <p:txBody>
          <a:bodyPr/>
          <a:lstStyle/>
          <a:p>
            <a:pPr defTabSz="816337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kern="0">
              <a:solidFill>
                <a:sysClr val="windowText" lastClr="000000"/>
              </a:solidFill>
              <a:latin typeface="Calibri"/>
              <a:cs typeface="+mn-cs"/>
            </a:endParaRPr>
          </a:p>
        </p:txBody>
      </p:sp>
      <p:sp>
        <p:nvSpPr>
          <p:cNvPr id="14" name="Freeform 21"/>
          <p:cNvSpPr>
            <a:spLocks/>
          </p:cNvSpPr>
          <p:nvPr/>
        </p:nvSpPr>
        <p:spPr bwMode="auto">
          <a:xfrm>
            <a:off x="405757" y="3184161"/>
            <a:ext cx="501650" cy="506413"/>
          </a:xfrm>
          <a:custGeom>
            <a:avLst/>
            <a:gdLst>
              <a:gd name="T0" fmla="*/ 134 w 134"/>
              <a:gd name="T1" fmla="*/ 37 h 135"/>
              <a:gd name="T2" fmla="*/ 134 w 134"/>
              <a:gd name="T3" fmla="*/ 98 h 135"/>
              <a:gd name="T4" fmla="*/ 98 w 134"/>
              <a:gd name="T5" fmla="*/ 135 h 135"/>
              <a:gd name="T6" fmla="*/ 36 w 134"/>
              <a:gd name="T7" fmla="*/ 135 h 135"/>
              <a:gd name="T8" fmla="*/ 0 w 134"/>
              <a:gd name="T9" fmla="*/ 98 h 135"/>
              <a:gd name="T10" fmla="*/ 0 w 134"/>
              <a:gd name="T11" fmla="*/ 37 h 135"/>
              <a:gd name="T12" fmla="*/ 36 w 134"/>
              <a:gd name="T13" fmla="*/ 0 h 135"/>
              <a:gd name="T14" fmla="*/ 134 w 134"/>
              <a:gd name="T15" fmla="*/ 0 h 135"/>
              <a:gd name="T16" fmla="*/ 134 w 134"/>
              <a:gd name="T17" fmla="*/ 37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4" h="135">
                <a:moveTo>
                  <a:pt x="134" y="37"/>
                </a:moveTo>
                <a:cubicBezTo>
                  <a:pt x="134" y="98"/>
                  <a:pt x="134" y="98"/>
                  <a:pt x="134" y="98"/>
                </a:cubicBezTo>
                <a:cubicBezTo>
                  <a:pt x="134" y="118"/>
                  <a:pt x="118" y="135"/>
                  <a:pt x="98" y="135"/>
                </a:cubicBezTo>
                <a:cubicBezTo>
                  <a:pt x="36" y="135"/>
                  <a:pt x="36" y="135"/>
                  <a:pt x="36" y="135"/>
                </a:cubicBezTo>
                <a:cubicBezTo>
                  <a:pt x="16" y="135"/>
                  <a:pt x="0" y="118"/>
                  <a:pt x="0" y="98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16"/>
                  <a:pt x="16" y="0"/>
                  <a:pt x="36" y="0"/>
                </a:cubicBezTo>
                <a:cubicBezTo>
                  <a:pt x="134" y="0"/>
                  <a:pt x="134" y="0"/>
                  <a:pt x="134" y="0"/>
                </a:cubicBezTo>
                <a:lnTo>
                  <a:pt x="134" y="37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xtLst/>
        </p:spPr>
        <p:txBody>
          <a:bodyPr/>
          <a:lstStyle/>
          <a:p>
            <a:pPr defTabSz="816337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kern="0">
              <a:solidFill>
                <a:sysClr val="windowText" lastClr="000000"/>
              </a:solidFill>
              <a:latin typeface="Calibri"/>
              <a:cs typeface="+mn-cs"/>
            </a:endParaRPr>
          </a:p>
        </p:txBody>
      </p:sp>
      <p:sp>
        <p:nvSpPr>
          <p:cNvPr id="15" name="Freeform 29"/>
          <p:cNvSpPr>
            <a:spLocks/>
          </p:cNvSpPr>
          <p:nvPr/>
        </p:nvSpPr>
        <p:spPr bwMode="auto">
          <a:xfrm>
            <a:off x="405757" y="3976324"/>
            <a:ext cx="506412" cy="506412"/>
          </a:xfrm>
          <a:custGeom>
            <a:avLst/>
            <a:gdLst>
              <a:gd name="T0" fmla="*/ 135 w 135"/>
              <a:gd name="T1" fmla="*/ 36 h 135"/>
              <a:gd name="T2" fmla="*/ 135 w 135"/>
              <a:gd name="T3" fmla="*/ 98 h 135"/>
              <a:gd name="T4" fmla="*/ 98 w 135"/>
              <a:gd name="T5" fmla="*/ 135 h 135"/>
              <a:gd name="T6" fmla="*/ 36 w 135"/>
              <a:gd name="T7" fmla="*/ 135 h 135"/>
              <a:gd name="T8" fmla="*/ 0 w 135"/>
              <a:gd name="T9" fmla="*/ 98 h 135"/>
              <a:gd name="T10" fmla="*/ 0 w 135"/>
              <a:gd name="T11" fmla="*/ 36 h 135"/>
              <a:gd name="T12" fmla="*/ 36 w 135"/>
              <a:gd name="T13" fmla="*/ 0 h 135"/>
              <a:gd name="T14" fmla="*/ 135 w 135"/>
              <a:gd name="T15" fmla="*/ 0 h 135"/>
              <a:gd name="T16" fmla="*/ 135 w 135"/>
              <a:gd name="T17" fmla="*/ 36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5" h="135">
                <a:moveTo>
                  <a:pt x="135" y="36"/>
                </a:moveTo>
                <a:cubicBezTo>
                  <a:pt x="135" y="98"/>
                  <a:pt x="135" y="98"/>
                  <a:pt x="135" y="98"/>
                </a:cubicBezTo>
                <a:cubicBezTo>
                  <a:pt x="135" y="118"/>
                  <a:pt x="118" y="135"/>
                  <a:pt x="98" y="135"/>
                </a:cubicBezTo>
                <a:cubicBezTo>
                  <a:pt x="36" y="135"/>
                  <a:pt x="36" y="135"/>
                  <a:pt x="36" y="135"/>
                </a:cubicBezTo>
                <a:cubicBezTo>
                  <a:pt x="16" y="135"/>
                  <a:pt x="0" y="118"/>
                  <a:pt x="0" y="98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135" y="0"/>
                  <a:pt x="135" y="0"/>
                  <a:pt x="135" y="0"/>
                </a:cubicBezTo>
                <a:lnTo>
                  <a:pt x="135" y="36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  <a:extLst/>
        </p:spPr>
        <p:txBody>
          <a:bodyPr/>
          <a:lstStyle/>
          <a:p>
            <a:pPr defTabSz="816337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 kern="0">
              <a:solidFill>
                <a:sysClr val="windowText" lastClr="000000"/>
              </a:solidFill>
              <a:latin typeface="Calibri"/>
              <a:cs typeface="+mn-cs"/>
            </a:endParaRPr>
          </a:p>
        </p:txBody>
      </p:sp>
      <p:sp>
        <p:nvSpPr>
          <p:cNvPr id="16" name="Text Box 11"/>
          <p:cNvSpPr txBox="1">
            <a:spLocks noChangeArrowheads="1"/>
          </p:cNvSpPr>
          <p:nvPr/>
        </p:nvSpPr>
        <p:spPr bwMode="auto">
          <a:xfrm>
            <a:off x="981821" y="1599266"/>
            <a:ext cx="1089436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  <a:spcBef>
                <a:spcPts val="1000"/>
              </a:spcBef>
              <a:defRPr/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предоставление всех видов социальных услуг всем категориям </a:t>
            </a:r>
            <a:r>
              <a:rPr lang="ru-RU" altLang="zh-CN" sz="1600" b="1" dirty="0" smtClean="0">
                <a:solidFill>
                  <a:schemeClr val="accent1">
                    <a:lumMod val="50000"/>
                  </a:schemeClr>
                </a:solidFill>
              </a:rPr>
              <a:t>нуждающихся граждан</a:t>
            </a:r>
            <a:endParaRPr lang="ru-RU" altLang="zh-CN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7" name="Text Box 11"/>
          <p:cNvSpPr txBox="1">
            <a:spLocks noChangeArrowheads="1"/>
          </p:cNvSpPr>
          <p:nvPr/>
        </p:nvSpPr>
        <p:spPr bwMode="auto">
          <a:xfrm>
            <a:off x="1010272" y="2380465"/>
            <a:ext cx="11181728" cy="423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  <a:spcBef>
                <a:spcPts val="1000"/>
              </a:spcBef>
              <a:defRPr/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целевая группа учреждения включает в себя людей всех возрастных категорий от детей до пожилых 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8" name="Text Box 11"/>
          <p:cNvSpPr txBox="1">
            <a:spLocks noChangeArrowheads="1"/>
          </p:cNvSpPr>
          <p:nvPr/>
        </p:nvSpPr>
        <p:spPr bwMode="auto">
          <a:xfrm>
            <a:off x="1053828" y="3255450"/>
            <a:ext cx="11138171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профилактика социального сиротства</a:t>
            </a:r>
            <a:endParaRPr lang="ru-RU" altLang="zh-CN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" name="Text Box 11"/>
          <p:cNvSpPr txBox="1">
            <a:spLocks noChangeArrowheads="1"/>
          </p:cNvSpPr>
          <p:nvPr/>
        </p:nvSpPr>
        <p:spPr bwMode="auto">
          <a:xfrm>
            <a:off x="981820" y="3975530"/>
            <a:ext cx="11210180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системный и комплексный подход к оказанию социальной помощи</a:t>
            </a:r>
            <a:endParaRPr lang="ru-RU" altLang="zh-CN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20" name="Picture 39" descr="D:\общая\в през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t="39999" b="20001"/>
          <a:stretch>
            <a:fillRect/>
          </a:stretch>
        </p:blipFill>
        <p:spPr bwMode="auto">
          <a:xfrm>
            <a:off x="2835044" y="4712534"/>
            <a:ext cx="6480810" cy="17281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137137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392" y="0"/>
            <a:ext cx="10972800" cy="778098"/>
          </a:xfrm>
        </p:spPr>
        <p:txBody>
          <a:bodyPr>
            <a:normAutofit/>
          </a:bodyPr>
          <a:lstStyle/>
          <a:p>
            <a:pPr marL="457200" lvl="1" algn="l" rtl="0">
              <a:lnSpc>
                <a:spcPct val="90000"/>
              </a:lnSpc>
              <a:spcBef>
                <a:spcPct val="0"/>
              </a:spcBef>
            </a:pPr>
            <a:r>
              <a:rPr lang="ru-RU" altLang="ru-RU" sz="2900" kern="1200" dirty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Историческое развитие практики</a:t>
            </a:r>
          </a:p>
        </p:txBody>
      </p:sp>
      <p:sp>
        <p:nvSpPr>
          <p:cNvPr id="5" name="原创设计师QQ598969553     _3"/>
          <p:cNvSpPr/>
          <p:nvPr/>
        </p:nvSpPr>
        <p:spPr>
          <a:xfrm>
            <a:off x="0" y="3491671"/>
            <a:ext cx="12194117" cy="65399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2343" tIns="46172" rIns="92343" bIns="4617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grpSp>
        <p:nvGrpSpPr>
          <p:cNvPr id="3" name="原创设计师QQ598969553     _4"/>
          <p:cNvGrpSpPr/>
          <p:nvPr/>
        </p:nvGrpSpPr>
        <p:grpSpPr>
          <a:xfrm>
            <a:off x="1421176" y="3068516"/>
            <a:ext cx="1046038" cy="869821"/>
            <a:chOff x="1466675" y="3784103"/>
            <a:chExt cx="1301392" cy="1301862"/>
          </a:xfrm>
        </p:grpSpPr>
        <p:grpSp>
          <p:nvGrpSpPr>
            <p:cNvPr id="4" name="组合 174"/>
            <p:cNvGrpSpPr/>
            <p:nvPr/>
          </p:nvGrpSpPr>
          <p:grpSpPr>
            <a:xfrm>
              <a:off x="1466675" y="3784103"/>
              <a:ext cx="1301392" cy="1301862"/>
              <a:chOff x="4345444" y="2542859"/>
              <a:chExt cx="1810550" cy="1811205"/>
            </a:xfrm>
          </p:grpSpPr>
          <p:grpSp>
            <p:nvGrpSpPr>
              <p:cNvPr id="6" name="组合 176"/>
              <p:cNvGrpSpPr/>
              <p:nvPr/>
            </p:nvGrpSpPr>
            <p:grpSpPr>
              <a:xfrm>
                <a:off x="4345444" y="2542859"/>
                <a:ext cx="1810550" cy="1811205"/>
                <a:chOff x="1463339" y="1072758"/>
                <a:chExt cx="1546058" cy="1546058"/>
              </a:xfrm>
              <a:effectLst>
                <a:outerShdw blurRad="330200" dist="215900" dir="6900000" sx="91000" sy="91000" algn="t" rotWithShape="0">
                  <a:prstClr val="black">
                    <a:alpha val="49000"/>
                  </a:prstClr>
                </a:outerShdw>
              </a:effectLst>
            </p:grpSpPr>
            <p:sp>
              <p:nvSpPr>
                <p:cNvPr id="12" name="同心圆 178"/>
                <p:cNvSpPr/>
                <p:nvPr/>
              </p:nvSpPr>
              <p:spPr>
                <a:xfrm>
                  <a:off x="1463339" y="1072758"/>
                  <a:ext cx="1546058" cy="1546058"/>
                </a:xfrm>
                <a:prstGeom prst="donut">
                  <a:avLst>
                    <a:gd name="adj" fmla="val 4879"/>
                  </a:avLst>
                </a:prstGeom>
                <a:gradFill>
                  <a:gsLst>
                    <a:gs pos="0">
                      <a:sysClr val="window" lastClr="FFFFFF">
                        <a:lumMod val="95000"/>
                      </a:sysClr>
                    </a:gs>
                    <a:gs pos="55000">
                      <a:sysClr val="window" lastClr="FFFFFF">
                        <a:lumMod val="95000"/>
                      </a:sysClr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lin ang="8100000" scaled="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微软雅黑"/>
                    <a:ea typeface="微软雅黑"/>
                    <a:cs typeface="+mn-cs"/>
                  </a:endParaRPr>
                </a:p>
              </p:txBody>
            </p:sp>
            <p:sp>
              <p:nvSpPr>
                <p:cNvPr id="13" name="椭圆 179"/>
                <p:cNvSpPr/>
                <p:nvPr/>
              </p:nvSpPr>
              <p:spPr>
                <a:xfrm>
                  <a:off x="1484232" y="1093651"/>
                  <a:ext cx="1504274" cy="1504273"/>
                </a:xfrm>
                <a:prstGeom prst="ellipse">
                  <a:avLst/>
                </a:prstGeom>
                <a:gradFill>
                  <a:gsLst>
                    <a:gs pos="0">
                      <a:sysClr val="window" lastClr="FFFFFF"/>
                    </a:gs>
                    <a:gs pos="51000">
                      <a:sysClr val="window" lastClr="FFFFFF">
                        <a:lumMod val="95000"/>
                      </a:sysClr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lin ang="18900000" scaled="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微软雅黑"/>
                    <a:ea typeface="微软雅黑"/>
                    <a:cs typeface="+mn-cs"/>
                  </a:endParaRPr>
                </a:p>
              </p:txBody>
            </p:sp>
          </p:grpSp>
          <p:sp>
            <p:nvSpPr>
              <p:cNvPr id="11" name="椭圆 177"/>
              <p:cNvSpPr/>
              <p:nvPr/>
            </p:nvSpPr>
            <p:spPr>
              <a:xfrm>
                <a:off x="4565570" y="2763062"/>
                <a:ext cx="1370298" cy="1370793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+mn-cs"/>
                </a:endParaRPr>
              </a:p>
            </p:txBody>
          </p:sp>
        </p:grpSp>
        <p:sp>
          <p:nvSpPr>
            <p:cNvPr id="9" name="TextBox 97"/>
            <p:cNvSpPr txBox="1"/>
            <p:nvPr/>
          </p:nvSpPr>
          <p:spPr>
            <a:xfrm>
              <a:off x="1561153" y="4180596"/>
              <a:ext cx="1077183" cy="531306"/>
            </a:xfrm>
            <a:prstGeom prst="rect">
              <a:avLst/>
            </a:prstGeom>
            <a:noFill/>
          </p:spPr>
          <p:txBody>
            <a:bodyPr wrap="square" lIns="138192" tIns="69096" rIns="138192" bIns="69096" rtlCol="0">
              <a:spAutoFit/>
            </a:bodyPr>
            <a:lstStyle/>
            <a:p>
              <a:pPr lvl="0" algn="ctr">
                <a:defRPr/>
              </a:pPr>
              <a:r>
                <a:rPr lang="ru-RU" altLang="zh-CN" sz="1400" kern="0" dirty="0" smtClean="0">
                  <a:solidFill>
                    <a:sysClr val="window" lastClr="FFFFFF"/>
                  </a:solidFill>
                  <a:latin typeface="微软雅黑"/>
                  <a:ea typeface="微软雅黑"/>
                </a:rPr>
                <a:t>2014</a:t>
              </a:r>
            </a:p>
          </p:txBody>
        </p:sp>
      </p:grpSp>
      <p:grpSp>
        <p:nvGrpSpPr>
          <p:cNvPr id="7" name="组合 181"/>
          <p:cNvGrpSpPr/>
          <p:nvPr/>
        </p:nvGrpSpPr>
        <p:grpSpPr>
          <a:xfrm>
            <a:off x="2864455" y="3185499"/>
            <a:ext cx="791688" cy="658319"/>
            <a:chOff x="4345444" y="2542859"/>
            <a:chExt cx="1810550" cy="1811205"/>
          </a:xfrm>
        </p:grpSpPr>
        <p:grpSp>
          <p:nvGrpSpPr>
            <p:cNvPr id="8" name="组合 183"/>
            <p:cNvGrpSpPr/>
            <p:nvPr/>
          </p:nvGrpSpPr>
          <p:grpSpPr>
            <a:xfrm>
              <a:off x="4345444" y="2542859"/>
              <a:ext cx="1810550" cy="1811205"/>
              <a:chOff x="1463339" y="1072758"/>
              <a:chExt cx="1546058" cy="1546058"/>
            </a:xfrm>
            <a:effectLst>
              <a:outerShdw blurRad="330200" dist="215900" dir="6900000" sx="91000" sy="91000" algn="t" rotWithShape="0">
                <a:prstClr val="black">
                  <a:alpha val="49000"/>
                </a:prstClr>
              </a:outerShdw>
            </a:effectLst>
          </p:grpSpPr>
          <p:sp>
            <p:nvSpPr>
              <p:cNvPr id="19" name="同心圆 185"/>
              <p:cNvSpPr/>
              <p:nvPr/>
            </p:nvSpPr>
            <p:spPr>
              <a:xfrm>
                <a:off x="1463339" y="1072758"/>
                <a:ext cx="1546058" cy="1546058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ysClr val="window" lastClr="FFFFFF">
                      <a:lumMod val="95000"/>
                    </a:sysClr>
                  </a:gs>
                  <a:gs pos="55000">
                    <a:sysClr val="window" lastClr="FFFFFF">
                      <a:lumMod val="95000"/>
                    </a:sysClr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810000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/>
                  <a:ea typeface="微软雅黑"/>
                  <a:cs typeface="+mn-cs"/>
                </a:endParaRPr>
              </a:p>
            </p:txBody>
          </p:sp>
          <p:sp>
            <p:nvSpPr>
              <p:cNvPr id="20" name="椭圆 186"/>
              <p:cNvSpPr/>
              <p:nvPr/>
            </p:nvSpPr>
            <p:spPr>
              <a:xfrm>
                <a:off x="1484232" y="1093651"/>
                <a:ext cx="1504274" cy="1504273"/>
              </a:xfrm>
              <a:prstGeom prst="ellipse">
                <a:avLst/>
              </a:prstGeom>
              <a:gradFill>
                <a:gsLst>
                  <a:gs pos="0">
                    <a:sysClr val="window" lastClr="FFFFFF"/>
                  </a:gs>
                  <a:gs pos="51000">
                    <a:sysClr val="window" lastClr="FFFFFF">
                      <a:lumMod val="95000"/>
                    </a:sysClr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90000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+mn-cs"/>
                </a:endParaRPr>
              </a:p>
            </p:txBody>
          </p:sp>
        </p:grpSp>
        <p:sp>
          <p:nvSpPr>
            <p:cNvPr id="18" name="椭圆 184"/>
            <p:cNvSpPr/>
            <p:nvPr/>
          </p:nvSpPr>
          <p:spPr>
            <a:xfrm>
              <a:off x="4565570" y="2763062"/>
              <a:ext cx="1370298" cy="1370793"/>
            </a:xfrm>
            <a:prstGeom prst="ellipse">
              <a:avLst/>
            </a:prstGeom>
            <a:solidFill>
              <a:srgbClr val="00206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</p:grpSp>
      <p:grpSp>
        <p:nvGrpSpPr>
          <p:cNvPr id="10" name="原创设计师QQ598969553     _6"/>
          <p:cNvGrpSpPr/>
          <p:nvPr/>
        </p:nvGrpSpPr>
        <p:grpSpPr>
          <a:xfrm>
            <a:off x="4082651" y="3073758"/>
            <a:ext cx="1060438" cy="881795"/>
            <a:chOff x="4450933" y="3791953"/>
            <a:chExt cx="1319306" cy="1319782"/>
          </a:xfrm>
        </p:grpSpPr>
        <p:grpSp>
          <p:nvGrpSpPr>
            <p:cNvPr id="14" name="组合 188"/>
            <p:cNvGrpSpPr/>
            <p:nvPr/>
          </p:nvGrpSpPr>
          <p:grpSpPr>
            <a:xfrm>
              <a:off x="4450933" y="3791953"/>
              <a:ext cx="1319306" cy="1319782"/>
              <a:chOff x="4345444" y="2542859"/>
              <a:chExt cx="1810550" cy="1811205"/>
            </a:xfrm>
          </p:grpSpPr>
          <p:grpSp>
            <p:nvGrpSpPr>
              <p:cNvPr id="15" name="组合 190"/>
              <p:cNvGrpSpPr/>
              <p:nvPr/>
            </p:nvGrpSpPr>
            <p:grpSpPr>
              <a:xfrm>
                <a:off x="4345444" y="2542859"/>
                <a:ext cx="1810550" cy="1811205"/>
                <a:chOff x="1463339" y="1072758"/>
                <a:chExt cx="1546058" cy="1546058"/>
              </a:xfrm>
              <a:effectLst>
                <a:outerShdw blurRad="330200" dist="215900" dir="6900000" sx="91000" sy="91000" algn="t" rotWithShape="0">
                  <a:prstClr val="black">
                    <a:alpha val="49000"/>
                  </a:prstClr>
                </a:outerShdw>
              </a:effectLst>
            </p:grpSpPr>
            <p:sp>
              <p:nvSpPr>
                <p:cNvPr id="26" name="同心圆 192"/>
                <p:cNvSpPr/>
                <p:nvPr/>
              </p:nvSpPr>
              <p:spPr>
                <a:xfrm>
                  <a:off x="1463339" y="1072758"/>
                  <a:ext cx="1546058" cy="1546058"/>
                </a:xfrm>
                <a:prstGeom prst="donut">
                  <a:avLst>
                    <a:gd name="adj" fmla="val 4879"/>
                  </a:avLst>
                </a:prstGeom>
                <a:gradFill>
                  <a:gsLst>
                    <a:gs pos="0">
                      <a:sysClr val="window" lastClr="FFFFFF">
                        <a:lumMod val="95000"/>
                      </a:sysClr>
                    </a:gs>
                    <a:gs pos="55000">
                      <a:sysClr val="window" lastClr="FFFFFF">
                        <a:lumMod val="95000"/>
                      </a:sysClr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lin ang="8100000" scaled="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微软雅黑"/>
                    <a:ea typeface="微软雅黑"/>
                    <a:cs typeface="+mn-cs"/>
                  </a:endParaRPr>
                </a:p>
              </p:txBody>
            </p:sp>
            <p:sp>
              <p:nvSpPr>
                <p:cNvPr id="27" name="椭圆 193"/>
                <p:cNvSpPr/>
                <p:nvPr/>
              </p:nvSpPr>
              <p:spPr>
                <a:xfrm>
                  <a:off x="1484232" y="1093651"/>
                  <a:ext cx="1504274" cy="1504273"/>
                </a:xfrm>
                <a:prstGeom prst="ellipse">
                  <a:avLst/>
                </a:prstGeom>
                <a:gradFill>
                  <a:gsLst>
                    <a:gs pos="0">
                      <a:sysClr val="window" lastClr="FFFFFF"/>
                    </a:gs>
                    <a:gs pos="51000">
                      <a:sysClr val="window" lastClr="FFFFFF">
                        <a:lumMod val="95000"/>
                      </a:sysClr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lin ang="18900000" scaled="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微软雅黑"/>
                    <a:ea typeface="微软雅黑"/>
                    <a:cs typeface="+mn-cs"/>
                  </a:endParaRPr>
                </a:p>
              </p:txBody>
            </p:sp>
          </p:grpSp>
          <p:sp>
            <p:nvSpPr>
              <p:cNvPr id="25" name="椭圆 191"/>
              <p:cNvSpPr/>
              <p:nvPr/>
            </p:nvSpPr>
            <p:spPr>
              <a:xfrm>
                <a:off x="4565570" y="2763062"/>
                <a:ext cx="1370298" cy="1370793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+mn-cs"/>
                </a:endParaRPr>
              </a:p>
            </p:txBody>
          </p:sp>
        </p:grpSp>
        <p:sp>
          <p:nvSpPr>
            <p:cNvPr id="23" name="TextBox 111"/>
            <p:cNvSpPr txBox="1"/>
            <p:nvPr/>
          </p:nvSpPr>
          <p:spPr>
            <a:xfrm>
              <a:off x="4577265" y="4180595"/>
              <a:ext cx="1077182" cy="531306"/>
            </a:xfrm>
            <a:prstGeom prst="rect">
              <a:avLst/>
            </a:prstGeom>
            <a:noFill/>
          </p:spPr>
          <p:txBody>
            <a:bodyPr wrap="square" lIns="138192" tIns="69096" rIns="138192" bIns="69096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zh-CN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</a:rPr>
                <a:t>2016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grpSp>
        <p:nvGrpSpPr>
          <p:cNvPr id="16" name="组合 195"/>
          <p:cNvGrpSpPr/>
          <p:nvPr/>
        </p:nvGrpSpPr>
        <p:grpSpPr>
          <a:xfrm>
            <a:off x="5543272" y="3174265"/>
            <a:ext cx="818700" cy="680781"/>
            <a:chOff x="4345444" y="2542859"/>
            <a:chExt cx="1810550" cy="1811205"/>
          </a:xfrm>
        </p:grpSpPr>
        <p:grpSp>
          <p:nvGrpSpPr>
            <p:cNvPr id="17" name="组合 197"/>
            <p:cNvGrpSpPr/>
            <p:nvPr/>
          </p:nvGrpSpPr>
          <p:grpSpPr>
            <a:xfrm>
              <a:off x="4345444" y="2542859"/>
              <a:ext cx="1810550" cy="1811205"/>
              <a:chOff x="1463339" y="1072758"/>
              <a:chExt cx="1546058" cy="1546058"/>
            </a:xfrm>
            <a:effectLst>
              <a:outerShdw blurRad="330200" dist="215900" dir="6900000" sx="91000" sy="91000" algn="t" rotWithShape="0">
                <a:prstClr val="black">
                  <a:alpha val="49000"/>
                </a:prstClr>
              </a:outerShdw>
            </a:effectLst>
          </p:grpSpPr>
          <p:sp>
            <p:nvSpPr>
              <p:cNvPr id="33" name="同心圆 199"/>
              <p:cNvSpPr/>
              <p:nvPr/>
            </p:nvSpPr>
            <p:spPr>
              <a:xfrm>
                <a:off x="1463339" y="1072758"/>
                <a:ext cx="1546058" cy="1546058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ysClr val="window" lastClr="FFFFFF">
                      <a:lumMod val="95000"/>
                    </a:sysClr>
                  </a:gs>
                  <a:gs pos="55000">
                    <a:sysClr val="window" lastClr="FFFFFF">
                      <a:lumMod val="95000"/>
                    </a:sysClr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810000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/>
                  <a:ea typeface="微软雅黑"/>
                  <a:cs typeface="+mn-cs"/>
                </a:endParaRPr>
              </a:p>
            </p:txBody>
          </p:sp>
          <p:sp>
            <p:nvSpPr>
              <p:cNvPr id="34" name="椭圆 200"/>
              <p:cNvSpPr/>
              <p:nvPr/>
            </p:nvSpPr>
            <p:spPr>
              <a:xfrm>
                <a:off x="1484232" y="1093651"/>
                <a:ext cx="1504274" cy="1504273"/>
              </a:xfrm>
              <a:prstGeom prst="ellipse">
                <a:avLst/>
              </a:prstGeom>
              <a:gradFill>
                <a:gsLst>
                  <a:gs pos="0">
                    <a:sysClr val="window" lastClr="FFFFFF"/>
                  </a:gs>
                  <a:gs pos="51000">
                    <a:sysClr val="window" lastClr="FFFFFF">
                      <a:lumMod val="95000"/>
                    </a:sysClr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90000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+mn-cs"/>
                </a:endParaRPr>
              </a:p>
            </p:txBody>
          </p:sp>
        </p:grpSp>
        <p:sp>
          <p:nvSpPr>
            <p:cNvPr id="32" name="椭圆 198"/>
            <p:cNvSpPr/>
            <p:nvPr/>
          </p:nvSpPr>
          <p:spPr>
            <a:xfrm>
              <a:off x="4565570" y="2763062"/>
              <a:ext cx="1370298" cy="1370793"/>
            </a:xfrm>
            <a:prstGeom prst="ellipse">
              <a:avLst/>
            </a:prstGeom>
            <a:solidFill>
              <a:srgbClr val="00206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</p:grpSp>
      <p:grpSp>
        <p:nvGrpSpPr>
          <p:cNvPr id="21" name="组合 202"/>
          <p:cNvGrpSpPr/>
          <p:nvPr/>
        </p:nvGrpSpPr>
        <p:grpSpPr>
          <a:xfrm>
            <a:off x="6762159" y="3174265"/>
            <a:ext cx="818702" cy="680781"/>
            <a:chOff x="4345444" y="2542859"/>
            <a:chExt cx="1810550" cy="1811205"/>
          </a:xfrm>
        </p:grpSpPr>
        <p:grpSp>
          <p:nvGrpSpPr>
            <p:cNvPr id="22" name="组合 204"/>
            <p:cNvGrpSpPr/>
            <p:nvPr/>
          </p:nvGrpSpPr>
          <p:grpSpPr>
            <a:xfrm>
              <a:off x="4345444" y="2542859"/>
              <a:ext cx="1810550" cy="1811205"/>
              <a:chOff x="1463339" y="1072758"/>
              <a:chExt cx="1546058" cy="1546058"/>
            </a:xfrm>
            <a:effectLst>
              <a:outerShdw blurRad="330200" dist="215900" dir="6900000" sx="91000" sy="91000" algn="t" rotWithShape="0">
                <a:prstClr val="black">
                  <a:alpha val="49000"/>
                </a:prstClr>
              </a:outerShdw>
            </a:effectLst>
          </p:grpSpPr>
          <p:sp>
            <p:nvSpPr>
              <p:cNvPr id="40" name="同心圆 206"/>
              <p:cNvSpPr/>
              <p:nvPr/>
            </p:nvSpPr>
            <p:spPr>
              <a:xfrm>
                <a:off x="1463339" y="1072758"/>
                <a:ext cx="1546058" cy="1546058"/>
              </a:xfrm>
              <a:prstGeom prst="donut">
                <a:avLst>
                  <a:gd name="adj" fmla="val 4879"/>
                </a:avLst>
              </a:prstGeom>
              <a:gradFill>
                <a:gsLst>
                  <a:gs pos="0">
                    <a:sysClr val="window" lastClr="FFFFFF">
                      <a:lumMod val="95000"/>
                    </a:sysClr>
                  </a:gs>
                  <a:gs pos="55000">
                    <a:sysClr val="window" lastClr="FFFFFF">
                      <a:lumMod val="95000"/>
                    </a:sysClr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810000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微软雅黑"/>
                  <a:ea typeface="微软雅黑"/>
                  <a:cs typeface="+mn-cs"/>
                </a:endParaRPr>
              </a:p>
            </p:txBody>
          </p:sp>
          <p:sp>
            <p:nvSpPr>
              <p:cNvPr id="41" name="椭圆 207"/>
              <p:cNvSpPr/>
              <p:nvPr/>
            </p:nvSpPr>
            <p:spPr>
              <a:xfrm>
                <a:off x="1484232" y="1093651"/>
                <a:ext cx="1504274" cy="1504273"/>
              </a:xfrm>
              <a:prstGeom prst="ellipse">
                <a:avLst/>
              </a:prstGeom>
              <a:gradFill>
                <a:gsLst>
                  <a:gs pos="0">
                    <a:sysClr val="window" lastClr="FFFFFF"/>
                  </a:gs>
                  <a:gs pos="51000">
                    <a:sysClr val="window" lastClr="FFFFFF">
                      <a:lumMod val="95000"/>
                    </a:sysClr>
                  </a:gs>
                  <a:gs pos="100000">
                    <a:sysClr val="window" lastClr="FFFFFF">
                      <a:lumMod val="85000"/>
                    </a:sysClr>
                  </a:gs>
                </a:gsLst>
                <a:lin ang="18900000" scaled="0"/>
              </a:gra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+mn-cs"/>
                </a:endParaRPr>
              </a:p>
            </p:txBody>
          </p:sp>
        </p:grpSp>
        <p:sp>
          <p:nvSpPr>
            <p:cNvPr id="39" name="椭圆 205"/>
            <p:cNvSpPr/>
            <p:nvPr/>
          </p:nvSpPr>
          <p:spPr>
            <a:xfrm>
              <a:off x="4565570" y="2763062"/>
              <a:ext cx="1370298" cy="1370793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4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</p:grpSp>
      <p:grpSp>
        <p:nvGrpSpPr>
          <p:cNvPr id="24" name="原创设计师QQ598969553     _9"/>
          <p:cNvGrpSpPr/>
          <p:nvPr/>
        </p:nvGrpSpPr>
        <p:grpSpPr>
          <a:xfrm>
            <a:off x="8010614" y="3061353"/>
            <a:ext cx="1090280" cy="906611"/>
            <a:chOff x="8854229" y="3773382"/>
            <a:chExt cx="1356434" cy="1356924"/>
          </a:xfrm>
        </p:grpSpPr>
        <p:grpSp>
          <p:nvGrpSpPr>
            <p:cNvPr id="28" name="组合 209"/>
            <p:cNvGrpSpPr/>
            <p:nvPr/>
          </p:nvGrpSpPr>
          <p:grpSpPr>
            <a:xfrm>
              <a:off x="8854229" y="3773382"/>
              <a:ext cx="1356434" cy="1356924"/>
              <a:chOff x="4345444" y="2542859"/>
              <a:chExt cx="1810550" cy="1811205"/>
            </a:xfrm>
          </p:grpSpPr>
          <p:grpSp>
            <p:nvGrpSpPr>
              <p:cNvPr id="29" name="组合 211"/>
              <p:cNvGrpSpPr/>
              <p:nvPr/>
            </p:nvGrpSpPr>
            <p:grpSpPr>
              <a:xfrm>
                <a:off x="4345444" y="2542859"/>
                <a:ext cx="1810550" cy="1811205"/>
                <a:chOff x="1463339" y="1072758"/>
                <a:chExt cx="1546058" cy="1546058"/>
              </a:xfrm>
              <a:effectLst>
                <a:outerShdw blurRad="330200" dist="215900" dir="6900000" sx="91000" sy="91000" algn="t" rotWithShape="0">
                  <a:prstClr val="black">
                    <a:alpha val="49000"/>
                  </a:prstClr>
                </a:outerShdw>
              </a:effectLst>
            </p:grpSpPr>
            <p:sp>
              <p:nvSpPr>
                <p:cNvPr id="47" name="同心圆 213"/>
                <p:cNvSpPr/>
                <p:nvPr/>
              </p:nvSpPr>
              <p:spPr>
                <a:xfrm>
                  <a:off x="1463339" y="1072758"/>
                  <a:ext cx="1546058" cy="1546058"/>
                </a:xfrm>
                <a:prstGeom prst="donut">
                  <a:avLst>
                    <a:gd name="adj" fmla="val 4879"/>
                  </a:avLst>
                </a:prstGeom>
                <a:gradFill>
                  <a:gsLst>
                    <a:gs pos="0">
                      <a:sysClr val="window" lastClr="FFFFFF">
                        <a:lumMod val="95000"/>
                      </a:sysClr>
                    </a:gs>
                    <a:gs pos="55000">
                      <a:sysClr val="window" lastClr="FFFFFF">
                        <a:lumMod val="95000"/>
                      </a:sysClr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lin ang="8100000" scaled="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微软雅黑"/>
                    <a:ea typeface="微软雅黑"/>
                    <a:cs typeface="+mn-cs"/>
                  </a:endParaRPr>
                </a:p>
              </p:txBody>
            </p:sp>
            <p:sp>
              <p:nvSpPr>
                <p:cNvPr id="48" name="椭圆 214"/>
                <p:cNvSpPr/>
                <p:nvPr/>
              </p:nvSpPr>
              <p:spPr>
                <a:xfrm>
                  <a:off x="1484232" y="1093651"/>
                  <a:ext cx="1504274" cy="1504273"/>
                </a:xfrm>
                <a:prstGeom prst="ellipse">
                  <a:avLst/>
                </a:prstGeom>
                <a:gradFill>
                  <a:gsLst>
                    <a:gs pos="0">
                      <a:sysClr val="window" lastClr="FFFFFF"/>
                    </a:gs>
                    <a:gs pos="51000">
                      <a:sysClr val="window" lastClr="FFFFFF">
                        <a:lumMod val="95000"/>
                      </a:sysClr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lin ang="18900000" scaled="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微软雅黑"/>
                    <a:ea typeface="微软雅黑"/>
                    <a:cs typeface="+mn-cs"/>
                  </a:endParaRPr>
                </a:p>
              </p:txBody>
            </p:sp>
          </p:grpSp>
          <p:sp>
            <p:nvSpPr>
              <p:cNvPr id="46" name="椭圆 212"/>
              <p:cNvSpPr/>
              <p:nvPr/>
            </p:nvSpPr>
            <p:spPr>
              <a:xfrm>
                <a:off x="4565570" y="2763062"/>
                <a:ext cx="1370298" cy="1370793"/>
              </a:xfrm>
              <a:prstGeom prst="ellipse">
                <a:avLst/>
              </a:prstGeom>
              <a:solidFill>
                <a:srgbClr val="00206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+mn-cs"/>
                </a:endParaRPr>
              </a:p>
            </p:txBody>
          </p:sp>
        </p:grpSp>
        <p:sp>
          <p:nvSpPr>
            <p:cNvPr id="44" name="TextBox 132"/>
            <p:cNvSpPr txBox="1"/>
            <p:nvPr/>
          </p:nvSpPr>
          <p:spPr>
            <a:xfrm>
              <a:off x="8993715" y="4180595"/>
              <a:ext cx="1184901" cy="531306"/>
            </a:xfrm>
            <a:prstGeom prst="rect">
              <a:avLst/>
            </a:prstGeom>
            <a:noFill/>
          </p:spPr>
          <p:txBody>
            <a:bodyPr wrap="square" lIns="138192" tIns="69096" rIns="138192" bIns="69096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zh-CN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</a:rPr>
                <a:t>2019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grpSp>
        <p:nvGrpSpPr>
          <p:cNvPr id="30" name="原创设计师QQ598969553     _10"/>
          <p:cNvGrpSpPr/>
          <p:nvPr/>
        </p:nvGrpSpPr>
        <p:grpSpPr>
          <a:xfrm>
            <a:off x="9573400" y="2898138"/>
            <a:ext cx="1482835" cy="1233035"/>
            <a:chOff x="10559621" y="3529102"/>
            <a:chExt cx="1844818" cy="1845484"/>
          </a:xfrm>
        </p:grpSpPr>
        <p:grpSp>
          <p:nvGrpSpPr>
            <p:cNvPr id="31" name="组合 216"/>
            <p:cNvGrpSpPr/>
            <p:nvPr/>
          </p:nvGrpSpPr>
          <p:grpSpPr>
            <a:xfrm>
              <a:off x="10559621" y="3529102"/>
              <a:ext cx="1844818" cy="1845484"/>
              <a:chOff x="4345444" y="2542859"/>
              <a:chExt cx="1810550" cy="1811205"/>
            </a:xfrm>
          </p:grpSpPr>
          <p:grpSp>
            <p:nvGrpSpPr>
              <p:cNvPr id="35" name="组合 218"/>
              <p:cNvGrpSpPr/>
              <p:nvPr/>
            </p:nvGrpSpPr>
            <p:grpSpPr>
              <a:xfrm>
                <a:off x="4345444" y="2542859"/>
                <a:ext cx="1810550" cy="1811205"/>
                <a:chOff x="1463339" y="1072758"/>
                <a:chExt cx="1546058" cy="1546058"/>
              </a:xfrm>
              <a:effectLst>
                <a:outerShdw blurRad="330200" dist="215900" dir="6900000" sx="91000" sy="91000" algn="t" rotWithShape="0">
                  <a:prstClr val="black">
                    <a:alpha val="49000"/>
                  </a:prstClr>
                </a:outerShdw>
              </a:effectLst>
            </p:grpSpPr>
            <p:sp>
              <p:nvSpPr>
                <p:cNvPr id="54" name="同心圆 220"/>
                <p:cNvSpPr/>
                <p:nvPr/>
              </p:nvSpPr>
              <p:spPr>
                <a:xfrm>
                  <a:off x="1463339" y="1072758"/>
                  <a:ext cx="1546058" cy="1546058"/>
                </a:xfrm>
                <a:prstGeom prst="donut">
                  <a:avLst>
                    <a:gd name="adj" fmla="val 4879"/>
                  </a:avLst>
                </a:prstGeom>
                <a:gradFill>
                  <a:gsLst>
                    <a:gs pos="0">
                      <a:sysClr val="window" lastClr="FFFFFF">
                        <a:lumMod val="95000"/>
                      </a:sysClr>
                    </a:gs>
                    <a:gs pos="55000">
                      <a:sysClr val="window" lastClr="FFFFFF">
                        <a:lumMod val="95000"/>
                      </a:sysClr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lin ang="8100000" scaled="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微软雅黑"/>
                    <a:ea typeface="微软雅黑"/>
                    <a:cs typeface="+mn-cs"/>
                  </a:endParaRPr>
                </a:p>
              </p:txBody>
            </p:sp>
            <p:sp>
              <p:nvSpPr>
                <p:cNvPr id="55" name="椭圆 221"/>
                <p:cNvSpPr/>
                <p:nvPr/>
              </p:nvSpPr>
              <p:spPr>
                <a:xfrm>
                  <a:off x="1484232" y="1093651"/>
                  <a:ext cx="1504274" cy="1504273"/>
                </a:xfrm>
                <a:prstGeom prst="ellipse">
                  <a:avLst/>
                </a:prstGeom>
                <a:gradFill>
                  <a:gsLst>
                    <a:gs pos="0">
                      <a:sysClr val="window" lastClr="FFFFFF"/>
                    </a:gs>
                    <a:gs pos="51000">
                      <a:sysClr val="window" lastClr="FFFFFF">
                        <a:lumMod val="95000"/>
                      </a:sysClr>
                    </a:gs>
                    <a:gs pos="100000">
                      <a:sysClr val="window" lastClr="FFFFFF">
                        <a:lumMod val="85000"/>
                      </a:sysClr>
                    </a:gs>
                  </a:gsLst>
                  <a:lin ang="18900000" scaled="0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400" b="0" i="0" u="none" strike="noStrike" kern="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微软雅黑"/>
                    <a:ea typeface="微软雅黑"/>
                    <a:cs typeface="+mn-cs"/>
                  </a:endParaRPr>
                </a:p>
              </p:txBody>
            </p:sp>
          </p:grpSp>
          <p:sp>
            <p:nvSpPr>
              <p:cNvPr id="53" name="椭圆 219"/>
              <p:cNvSpPr/>
              <p:nvPr/>
            </p:nvSpPr>
            <p:spPr>
              <a:xfrm>
                <a:off x="4565570" y="2763062"/>
                <a:ext cx="1370298" cy="1370793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4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  <a:cs typeface="+mn-cs"/>
                </a:endParaRPr>
              </a:p>
            </p:txBody>
          </p:sp>
        </p:grpSp>
        <p:sp>
          <p:nvSpPr>
            <p:cNvPr id="51" name="TextBox 139"/>
            <p:cNvSpPr txBox="1"/>
            <p:nvPr/>
          </p:nvSpPr>
          <p:spPr>
            <a:xfrm>
              <a:off x="10824924" y="4015358"/>
              <a:ext cx="1400339" cy="531306"/>
            </a:xfrm>
            <a:prstGeom prst="rect">
              <a:avLst/>
            </a:prstGeom>
            <a:noFill/>
          </p:spPr>
          <p:txBody>
            <a:bodyPr wrap="square" lIns="138192" tIns="69096" rIns="138192" bIns="69096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zh-CN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微软雅黑"/>
                  <a:ea typeface="微软雅黑"/>
                </a:rPr>
                <a:t>2020 -2022</a:t>
              </a:r>
              <a:endParaRPr kumimoji="0" lang="zh-CN" alt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微软雅黑"/>
                <a:ea typeface="微软雅黑"/>
              </a:endParaRPr>
            </a:p>
          </p:txBody>
        </p:sp>
      </p:grpSp>
      <p:grpSp>
        <p:nvGrpSpPr>
          <p:cNvPr id="36" name="原创设计师QQ598969553     _11"/>
          <p:cNvGrpSpPr/>
          <p:nvPr/>
        </p:nvGrpSpPr>
        <p:grpSpPr>
          <a:xfrm>
            <a:off x="335359" y="846758"/>
            <a:ext cx="3264363" cy="2063189"/>
            <a:chOff x="689131" y="1318791"/>
            <a:chExt cx="1631535" cy="994425"/>
          </a:xfrm>
        </p:grpSpPr>
        <p:sp>
          <p:nvSpPr>
            <p:cNvPr id="57" name="TextBox 145"/>
            <p:cNvSpPr txBox="1"/>
            <p:nvPr/>
          </p:nvSpPr>
          <p:spPr>
            <a:xfrm>
              <a:off x="765520" y="1804685"/>
              <a:ext cx="1512718" cy="382103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/>
            <a:p>
              <a:pPr lvl="0" algn="ctr" fontAlgn="base">
                <a:lnSpc>
                  <a:spcPct val="150000"/>
                </a:lnSpc>
                <a:buClr>
                  <a:srgbClr val="FF0000"/>
                </a:buClr>
                <a:buSzPct val="70000"/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Разовые диагностические выезды</a:t>
              </a:r>
              <a:endParaRPr lang="ru-RU" altLang="zh-CN" sz="1600" spc="-20" noProof="1" smtClean="0">
                <a:solidFill>
                  <a:srgbClr val="00478E"/>
                </a:solidFill>
              </a:endParaRPr>
            </a:p>
          </p:txBody>
        </p:sp>
        <p:grpSp>
          <p:nvGrpSpPr>
            <p:cNvPr id="37" name="组合 224"/>
            <p:cNvGrpSpPr/>
            <p:nvPr/>
          </p:nvGrpSpPr>
          <p:grpSpPr>
            <a:xfrm>
              <a:off x="689131" y="1318791"/>
              <a:ext cx="1631535" cy="994425"/>
              <a:chOff x="689131" y="1318791"/>
              <a:chExt cx="1631535" cy="994425"/>
            </a:xfrm>
          </p:grpSpPr>
          <p:cxnSp>
            <p:nvCxnSpPr>
              <p:cNvPr id="59" name="直接连接符 225"/>
              <p:cNvCxnSpPr/>
              <p:nvPr/>
            </p:nvCxnSpPr>
            <p:spPr>
              <a:xfrm flipV="1">
                <a:off x="1481601" y="2139702"/>
                <a:ext cx="0" cy="173514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  <a:headEnd type="oval" w="sm" len="sm"/>
              </a:ln>
              <a:effectLst/>
            </p:spPr>
          </p:cxnSp>
          <p:sp>
            <p:nvSpPr>
              <p:cNvPr id="60" name="TextBox 148"/>
              <p:cNvSpPr txBox="1"/>
              <p:nvPr/>
            </p:nvSpPr>
            <p:spPr>
              <a:xfrm>
                <a:off x="689131" y="1318791"/>
                <a:ext cx="1631535" cy="379821"/>
              </a:xfrm>
              <a:prstGeom prst="rect">
                <a:avLst/>
              </a:prstGeom>
              <a:noFill/>
            </p:spPr>
            <p:txBody>
              <a:bodyPr wrap="square" lIns="91431" tIns="0" rIns="91431" bIns="0" rtlCol="0" anchor="t">
                <a:spAutoFit/>
              </a:bodyPr>
              <a:lstStyle/>
              <a:p>
                <a:pPr algn="ctr" fontAlgn="base">
                  <a:lnSpc>
                    <a:spcPct val="150000"/>
                  </a:lnSpc>
                  <a:buClr>
                    <a:srgbClr val="FF0000"/>
                  </a:buClr>
                  <a:buSzPct val="70000"/>
                  <a:defRPr/>
                </a:pPr>
                <a:r>
                  <a:rPr lang="ru-RU" altLang="zh-CN" spc="-20" noProof="1" smtClean="0">
                    <a:solidFill>
                      <a:srgbClr val="00478E"/>
                    </a:solidFill>
                  </a:rPr>
                  <a:t>Проект «Консультационный центр «Развитие»</a:t>
                </a:r>
                <a:endParaRPr lang="ru-RU" altLang="zh-CN" spc="-20" noProof="1" smtClean="0">
                  <a:solidFill>
                    <a:srgbClr val="00478E"/>
                  </a:solidFill>
                </a:endParaRPr>
              </a:p>
            </p:txBody>
          </p:sp>
        </p:grpSp>
      </p:grpSp>
      <p:grpSp>
        <p:nvGrpSpPr>
          <p:cNvPr id="38" name="原创设计师QQ598969553     _14"/>
          <p:cNvGrpSpPr/>
          <p:nvPr/>
        </p:nvGrpSpPr>
        <p:grpSpPr>
          <a:xfrm>
            <a:off x="5807967" y="918767"/>
            <a:ext cx="5088565" cy="2003372"/>
            <a:chOff x="873900" y="1541325"/>
            <a:chExt cx="1166203" cy="663623"/>
          </a:xfrm>
        </p:grpSpPr>
        <p:sp>
          <p:nvSpPr>
            <p:cNvPr id="72" name="TextBox 160"/>
            <p:cNvSpPr txBox="1"/>
            <p:nvPr/>
          </p:nvSpPr>
          <p:spPr>
            <a:xfrm>
              <a:off x="873900" y="1803707"/>
              <a:ext cx="1166203" cy="397609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/>
            <a:p>
              <a:pPr algn="ctr" fontAlgn="base">
                <a:lnSpc>
                  <a:spcPct val="150000"/>
                </a:lnSpc>
                <a:buClr>
                  <a:srgbClr val="FF0000"/>
                </a:buClr>
                <a:buSzPct val="70000"/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Диагностические выезды </a:t>
              </a:r>
            </a:p>
            <a:p>
              <a:pPr algn="ctr" fontAlgn="base">
                <a:lnSpc>
                  <a:spcPct val="150000"/>
                </a:lnSpc>
                <a:buClr>
                  <a:srgbClr val="FF0000"/>
                </a:buClr>
                <a:buSzPct val="70000"/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и консультационная поддержка </a:t>
              </a:r>
            </a:p>
            <a:p>
              <a:pPr algn="ctr" fontAlgn="base">
                <a:lnSpc>
                  <a:spcPct val="150000"/>
                </a:lnSpc>
                <a:buClr>
                  <a:srgbClr val="FF0000"/>
                </a:buClr>
                <a:buSzPct val="70000"/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родителей	 и специалистов</a:t>
              </a:r>
              <a:endParaRPr lang="ru-RU" altLang="zh-CN" sz="1600" spc="-20" noProof="1" smtClean="0">
                <a:solidFill>
                  <a:srgbClr val="00478E"/>
                </a:solidFill>
              </a:endParaRPr>
            </a:p>
          </p:txBody>
        </p:sp>
        <p:grpSp>
          <p:nvGrpSpPr>
            <p:cNvPr id="42" name="组合 239"/>
            <p:cNvGrpSpPr/>
            <p:nvPr/>
          </p:nvGrpSpPr>
          <p:grpSpPr>
            <a:xfrm>
              <a:off x="947384" y="1541325"/>
              <a:ext cx="1070715" cy="663623"/>
              <a:chOff x="947384" y="1541325"/>
              <a:chExt cx="1070715" cy="663623"/>
            </a:xfrm>
          </p:grpSpPr>
          <p:cxnSp>
            <p:nvCxnSpPr>
              <p:cNvPr id="74" name="直接连接符 240"/>
              <p:cNvCxnSpPr/>
              <p:nvPr/>
            </p:nvCxnSpPr>
            <p:spPr>
              <a:xfrm flipV="1">
                <a:off x="1481601" y="2085697"/>
                <a:ext cx="0" cy="119251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  <a:headEnd type="oval" w="sm" len="sm"/>
              </a:ln>
              <a:effectLst/>
            </p:spPr>
          </p:cxnSp>
          <p:sp>
            <p:nvSpPr>
              <p:cNvPr id="75" name="TextBox 163"/>
              <p:cNvSpPr txBox="1"/>
              <p:nvPr/>
            </p:nvSpPr>
            <p:spPr>
              <a:xfrm>
                <a:off x="947384" y="1541325"/>
                <a:ext cx="1070715" cy="261039"/>
              </a:xfrm>
              <a:prstGeom prst="rect">
                <a:avLst/>
              </a:prstGeom>
              <a:noFill/>
            </p:spPr>
            <p:txBody>
              <a:bodyPr wrap="square" lIns="91431" tIns="0" rIns="91431" bIns="0" rtlCol="0" anchor="t">
                <a:spAutoFit/>
              </a:bodyPr>
              <a:lstStyle/>
              <a:p>
                <a:pPr algn="ctr" fontAlgn="base">
                  <a:lnSpc>
                    <a:spcPct val="150000"/>
                  </a:lnSpc>
                  <a:buClr>
                    <a:srgbClr val="FF0000"/>
                  </a:buClr>
                  <a:buSzPct val="70000"/>
                  <a:defRPr/>
                </a:pPr>
                <a:r>
                  <a:rPr lang="ru-RU" altLang="zh-CN" spc="-20" noProof="1" smtClean="0">
                    <a:solidFill>
                      <a:srgbClr val="00478E"/>
                    </a:solidFill>
                  </a:rPr>
                  <a:t>Социальный проект «Мобильный офис для семей с детьми-инвалидами»</a:t>
                </a:r>
                <a:endParaRPr lang="ru-RU" altLang="zh-CN" spc="-20" noProof="1" smtClean="0">
                  <a:solidFill>
                    <a:srgbClr val="00478E"/>
                  </a:solidFill>
                </a:endParaRPr>
              </a:p>
            </p:txBody>
          </p:sp>
        </p:grpSp>
      </p:grpSp>
      <p:grpSp>
        <p:nvGrpSpPr>
          <p:cNvPr id="43" name="原创设计师QQ598969553     _15"/>
          <p:cNvGrpSpPr/>
          <p:nvPr/>
        </p:nvGrpSpPr>
        <p:grpSpPr>
          <a:xfrm>
            <a:off x="2927647" y="4087118"/>
            <a:ext cx="3072341" cy="2030514"/>
            <a:chOff x="873900" y="1340833"/>
            <a:chExt cx="1166203" cy="699620"/>
          </a:xfrm>
        </p:grpSpPr>
        <p:sp>
          <p:nvSpPr>
            <p:cNvPr id="77" name="TextBox 165"/>
            <p:cNvSpPr txBox="1"/>
            <p:nvPr/>
          </p:nvSpPr>
          <p:spPr>
            <a:xfrm>
              <a:off x="873900" y="1767301"/>
              <a:ext cx="1166203" cy="273152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/>
            <a:p>
              <a:pPr algn="ctr" fontAlgn="base">
                <a:lnSpc>
                  <a:spcPct val="150000"/>
                </a:lnSpc>
                <a:buClr>
                  <a:srgbClr val="FF0000"/>
                </a:buClr>
                <a:buSzPct val="70000"/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Диагностические выезды на постоянной основе</a:t>
              </a:r>
              <a:endParaRPr lang="ru-RU" altLang="zh-CN" sz="1600" spc="-20" noProof="1" smtClean="0">
                <a:solidFill>
                  <a:srgbClr val="00478E"/>
                </a:solidFill>
              </a:endParaRPr>
            </a:p>
          </p:txBody>
        </p:sp>
        <p:grpSp>
          <p:nvGrpSpPr>
            <p:cNvPr id="45" name="组合 244"/>
            <p:cNvGrpSpPr/>
            <p:nvPr/>
          </p:nvGrpSpPr>
          <p:grpSpPr>
            <a:xfrm>
              <a:off x="947384" y="1340833"/>
              <a:ext cx="1008112" cy="295933"/>
              <a:chOff x="947384" y="1340833"/>
              <a:chExt cx="1008112" cy="295933"/>
            </a:xfrm>
          </p:grpSpPr>
          <p:cxnSp>
            <p:nvCxnSpPr>
              <p:cNvPr id="79" name="直接连接符 245"/>
              <p:cNvCxnSpPr/>
              <p:nvPr/>
            </p:nvCxnSpPr>
            <p:spPr>
              <a:xfrm>
                <a:off x="1481601" y="1340833"/>
                <a:ext cx="0" cy="124039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  <a:headEnd type="oval" w="sm" len="sm"/>
              </a:ln>
              <a:effectLst/>
            </p:spPr>
          </p:cxnSp>
          <p:sp>
            <p:nvSpPr>
              <p:cNvPr id="80" name="TextBox 168"/>
              <p:cNvSpPr txBox="1"/>
              <p:nvPr/>
            </p:nvSpPr>
            <p:spPr>
              <a:xfrm>
                <a:off x="947384" y="1541325"/>
                <a:ext cx="1008112" cy="95441"/>
              </a:xfrm>
              <a:prstGeom prst="rect">
                <a:avLst/>
              </a:prstGeom>
              <a:noFill/>
            </p:spPr>
            <p:txBody>
              <a:bodyPr wrap="square" lIns="91431" tIns="0" rIns="91431" bIns="0" rtlCol="0" anchor="t">
                <a:spAutoFit/>
              </a:bodyPr>
              <a:lstStyle/>
              <a:p>
                <a:pPr algn="ctr"/>
                <a:r>
                  <a:rPr lang="ru-RU" altLang="zh-CN" spc="-20" noProof="1" smtClean="0">
                    <a:solidFill>
                      <a:srgbClr val="00478E"/>
                    </a:solidFill>
                  </a:rPr>
                  <a:t>Мобильные бригады</a:t>
                </a:r>
                <a:endParaRPr lang="ru-RU" altLang="zh-CN" spc="-20" noProof="1" smtClean="0">
                  <a:solidFill>
                    <a:srgbClr val="00478E"/>
                  </a:solidFill>
                </a:endParaRPr>
              </a:p>
            </p:txBody>
          </p:sp>
        </p:grpSp>
      </p:grpSp>
      <p:grpSp>
        <p:nvGrpSpPr>
          <p:cNvPr id="49" name="原创设计师QQ598969553     _17"/>
          <p:cNvGrpSpPr/>
          <p:nvPr/>
        </p:nvGrpSpPr>
        <p:grpSpPr>
          <a:xfrm>
            <a:off x="6940627" y="4231134"/>
            <a:ext cx="5108033" cy="2694768"/>
            <a:chOff x="873900" y="1280579"/>
            <a:chExt cx="1166203" cy="1127454"/>
          </a:xfrm>
        </p:grpSpPr>
        <p:sp>
          <p:nvSpPr>
            <p:cNvPr id="87" name="TextBox 175"/>
            <p:cNvSpPr txBox="1"/>
            <p:nvPr/>
          </p:nvSpPr>
          <p:spPr>
            <a:xfrm>
              <a:off x="873900" y="1767302"/>
              <a:ext cx="1166203" cy="640731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/>
            <a:p>
              <a:pPr algn="ctr" fontAlgn="base">
                <a:lnSpc>
                  <a:spcPct val="150000"/>
                </a:lnSpc>
                <a:buClr>
                  <a:srgbClr val="FF0000"/>
                </a:buClr>
                <a:buSzPct val="70000"/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Мониторинг развития детей, консультационная поддержка родителей и специалистов, проведение очных и дистанционных занятий для детей и родителей</a:t>
              </a:r>
              <a:endParaRPr lang="ru-RU" altLang="zh-CN" sz="1600" spc="-20" noProof="1" smtClean="0">
                <a:solidFill>
                  <a:srgbClr val="00478E"/>
                </a:solidFill>
              </a:endParaRPr>
            </a:p>
          </p:txBody>
        </p:sp>
        <p:grpSp>
          <p:nvGrpSpPr>
            <p:cNvPr id="50" name="组合 254"/>
            <p:cNvGrpSpPr/>
            <p:nvPr/>
          </p:nvGrpSpPr>
          <p:grpSpPr>
            <a:xfrm>
              <a:off x="946788" y="1280579"/>
              <a:ext cx="1070292" cy="296656"/>
              <a:chOff x="946788" y="1280579"/>
              <a:chExt cx="1070292" cy="296656"/>
            </a:xfrm>
          </p:grpSpPr>
          <p:cxnSp>
            <p:nvCxnSpPr>
              <p:cNvPr id="89" name="直接连接符 255"/>
              <p:cNvCxnSpPr/>
              <p:nvPr/>
            </p:nvCxnSpPr>
            <p:spPr>
              <a:xfrm>
                <a:off x="1578481" y="1280579"/>
                <a:ext cx="0" cy="150619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  <a:headEnd type="oval" w="sm" len="sm"/>
              </a:ln>
              <a:effectLst/>
            </p:spPr>
          </p:cxnSp>
          <p:sp>
            <p:nvSpPr>
              <p:cNvPr id="90" name="TextBox 178"/>
              <p:cNvSpPr txBox="1"/>
              <p:nvPr/>
            </p:nvSpPr>
            <p:spPr>
              <a:xfrm>
                <a:off x="946788" y="1461342"/>
                <a:ext cx="1070292" cy="115893"/>
              </a:xfrm>
              <a:prstGeom prst="rect">
                <a:avLst/>
              </a:prstGeom>
              <a:noFill/>
            </p:spPr>
            <p:txBody>
              <a:bodyPr wrap="square" lIns="91431" tIns="0" rIns="91431" bIns="0" rtlCol="0" anchor="t">
                <a:spAutoFit/>
              </a:bodyPr>
              <a:lstStyle/>
              <a:p>
                <a:pPr algn="ctr"/>
                <a:r>
                  <a:rPr lang="ru-RU" altLang="zh-CN" spc="-20" noProof="1" smtClean="0">
                    <a:solidFill>
                      <a:srgbClr val="00478E"/>
                    </a:solidFill>
                  </a:rPr>
                  <a:t>Выездной микрореабилитационный центр</a:t>
                </a:r>
                <a:endParaRPr lang="ru-RU" altLang="zh-CN" spc="-20" noProof="1" smtClean="0">
                  <a:solidFill>
                    <a:srgbClr val="00478E"/>
                  </a:solidFill>
                </a:endParaRPr>
              </a:p>
            </p:txBody>
          </p:sp>
        </p:grpSp>
      </p:grp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原创设计师QQ598969553     _3"/>
          <p:cNvSpPr/>
          <p:nvPr/>
        </p:nvSpPr>
        <p:spPr>
          <a:xfrm rot="5400000">
            <a:off x="1336378" y="87581"/>
            <a:ext cx="2473646" cy="2821128"/>
          </a:xfrm>
          <a:prstGeom prst="blockArc">
            <a:avLst>
              <a:gd name="adj1" fmla="val 10897210"/>
              <a:gd name="adj2" fmla="val 6953"/>
              <a:gd name="adj3" fmla="val 1246"/>
            </a:avLst>
          </a:prstGeom>
          <a:solidFill>
            <a:sysClr val="windowText" lastClr="000000">
              <a:lumMod val="50000"/>
              <a:lumOff val="5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1" tIns="45716" rIns="91431" bIns="45716" anchor="ctr"/>
          <a:lstStyle/>
          <a:p>
            <a:pPr marL="0" marR="0" lvl="0" indent="0" algn="ctr" defTabSz="9143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89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微软雅黑"/>
              <a:cs typeface="Arial" panose="020B0604020202020204" pitchFamily="34" charset="0"/>
            </a:endParaRPr>
          </a:p>
        </p:txBody>
      </p:sp>
      <p:cxnSp>
        <p:nvCxnSpPr>
          <p:cNvPr id="7" name="原创设计师QQ598969553     _5"/>
          <p:cNvCxnSpPr/>
          <p:nvPr/>
        </p:nvCxnSpPr>
        <p:spPr bwMode="auto">
          <a:xfrm>
            <a:off x="3215680" y="2662960"/>
            <a:ext cx="1654343" cy="0"/>
          </a:xfrm>
          <a:prstGeom prst="line">
            <a:avLst/>
          </a:prstGeom>
          <a:noFill/>
          <a:ln w="12700" cap="flat" cmpd="sng" algn="ctr">
            <a:solidFill>
              <a:srgbClr val="9DA8B1"/>
            </a:solidFill>
            <a:prstDash val="solid"/>
          </a:ln>
          <a:effectLst/>
        </p:spPr>
      </p:cxnSp>
      <p:cxnSp>
        <p:nvCxnSpPr>
          <p:cNvPr id="8" name="原创设计师QQ598969553     _6"/>
          <p:cNvCxnSpPr/>
          <p:nvPr/>
        </p:nvCxnSpPr>
        <p:spPr bwMode="auto">
          <a:xfrm>
            <a:off x="3599723" y="502720"/>
            <a:ext cx="1532863" cy="0"/>
          </a:xfrm>
          <a:prstGeom prst="line">
            <a:avLst/>
          </a:prstGeom>
          <a:noFill/>
          <a:ln w="12700" cap="flat" cmpd="sng" algn="ctr">
            <a:solidFill>
              <a:srgbClr val="9DA8B1"/>
            </a:solidFill>
            <a:prstDash val="solid"/>
          </a:ln>
          <a:effectLst/>
        </p:spPr>
      </p:cxnSp>
      <p:cxnSp>
        <p:nvCxnSpPr>
          <p:cNvPr id="9" name="原创设计师QQ598969553     _7"/>
          <p:cNvCxnSpPr/>
          <p:nvPr/>
        </p:nvCxnSpPr>
        <p:spPr bwMode="auto">
          <a:xfrm>
            <a:off x="4079776" y="1412776"/>
            <a:ext cx="1655304" cy="0"/>
          </a:xfrm>
          <a:prstGeom prst="line">
            <a:avLst/>
          </a:prstGeom>
          <a:noFill/>
          <a:ln w="12700" cap="flat" cmpd="sng" algn="ctr">
            <a:solidFill>
              <a:srgbClr val="9DA8B1"/>
            </a:solidFill>
            <a:prstDash val="solid"/>
          </a:ln>
          <a:effectLst/>
        </p:spPr>
      </p:cxnSp>
      <p:sp>
        <p:nvSpPr>
          <p:cNvPr id="10" name="椭圆 51"/>
          <p:cNvSpPr/>
          <p:nvPr/>
        </p:nvSpPr>
        <p:spPr bwMode="auto">
          <a:xfrm>
            <a:off x="1156771" y="646736"/>
            <a:ext cx="1838256" cy="1559592"/>
          </a:xfrm>
          <a:prstGeom prst="ellipse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3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11" name="原创设计师QQ598969553     _12"/>
          <p:cNvSpPr/>
          <p:nvPr/>
        </p:nvSpPr>
        <p:spPr>
          <a:xfrm>
            <a:off x="3311691" y="358704"/>
            <a:ext cx="360088" cy="293810"/>
          </a:xfrm>
          <a:prstGeom prst="ellipse">
            <a:avLst/>
          </a:prstGeom>
          <a:solidFill>
            <a:srgbClr val="206243"/>
          </a:solidFill>
          <a:ln w="25400" cap="flat" cmpd="sng" algn="ctr">
            <a:noFill/>
            <a:prstDash val="solid"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12" name="原创设计师QQ598969553     _13"/>
          <p:cNvSpPr/>
          <p:nvPr/>
        </p:nvSpPr>
        <p:spPr>
          <a:xfrm>
            <a:off x="3791744" y="1268760"/>
            <a:ext cx="360088" cy="293810"/>
          </a:xfrm>
          <a:prstGeom prst="ellipse">
            <a:avLst/>
          </a:prstGeom>
          <a:solidFill>
            <a:srgbClr val="206243"/>
          </a:solidFill>
          <a:ln w="25400" cap="flat" cmpd="sng" algn="ctr">
            <a:noFill/>
            <a:prstDash val="solid"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13" name="原创设计师QQ598969553     _14"/>
          <p:cNvSpPr/>
          <p:nvPr/>
        </p:nvSpPr>
        <p:spPr>
          <a:xfrm>
            <a:off x="3023659" y="2446936"/>
            <a:ext cx="360088" cy="293810"/>
          </a:xfrm>
          <a:prstGeom prst="ellipse">
            <a:avLst/>
          </a:prstGeom>
          <a:solidFill>
            <a:srgbClr val="206243"/>
          </a:solidFill>
          <a:ln w="25400" cap="flat" cmpd="sng" algn="ctr">
            <a:noFill/>
            <a:prstDash val="solid"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grpSp>
        <p:nvGrpSpPr>
          <p:cNvPr id="2" name="组合 65"/>
          <p:cNvGrpSpPr/>
          <p:nvPr/>
        </p:nvGrpSpPr>
        <p:grpSpPr>
          <a:xfrm>
            <a:off x="5135894" y="142680"/>
            <a:ext cx="828533" cy="676032"/>
            <a:chOff x="304800" y="673100"/>
            <a:chExt cx="4000500" cy="4000500"/>
          </a:xfrm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15" name="同心圆 67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ysClr val="window" lastClr="FFFFFF"/>
                </a:gs>
                <a:gs pos="5500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65000"/>
                  </a:sysClr>
                </a:gs>
              </a:gsLst>
              <a:lin ang="81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 pitchFamily="34" charset="-122"/>
              </a:endParaRPr>
            </a:p>
          </p:txBody>
        </p:sp>
        <p:sp>
          <p:nvSpPr>
            <p:cNvPr id="16" name="椭圆 68"/>
            <p:cNvSpPr/>
            <p:nvPr/>
          </p:nvSpPr>
          <p:spPr>
            <a:xfrm>
              <a:off x="392112" y="760412"/>
              <a:ext cx="3825874" cy="3825874"/>
            </a:xfrm>
            <a:prstGeom prst="ellipse">
              <a:avLst/>
            </a:prstGeom>
            <a:gradFill>
              <a:gsLst>
                <a:gs pos="0">
                  <a:sysClr val="window" lastClr="FFFFFF"/>
                </a:gs>
                <a:gs pos="5100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75000"/>
                  </a:sysClr>
                </a:gs>
              </a:gsLst>
              <a:lin ang="189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 pitchFamily="34" charset="-122"/>
              </a:endParaRPr>
            </a:p>
          </p:txBody>
        </p:sp>
      </p:grpSp>
      <p:grpSp>
        <p:nvGrpSpPr>
          <p:cNvPr id="3" name="组合 70"/>
          <p:cNvGrpSpPr/>
          <p:nvPr/>
        </p:nvGrpSpPr>
        <p:grpSpPr>
          <a:xfrm>
            <a:off x="5711958" y="1124744"/>
            <a:ext cx="828533" cy="676032"/>
            <a:chOff x="304800" y="673100"/>
            <a:chExt cx="4000500" cy="4000500"/>
          </a:xfrm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18" name="同心圆 72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ysClr val="window" lastClr="FFFFFF"/>
                </a:gs>
                <a:gs pos="5500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65000"/>
                  </a:sysClr>
                </a:gs>
              </a:gsLst>
              <a:lin ang="81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 pitchFamily="34" charset="-122"/>
              </a:endParaRPr>
            </a:p>
          </p:txBody>
        </p:sp>
        <p:sp>
          <p:nvSpPr>
            <p:cNvPr id="19" name="椭圆 73"/>
            <p:cNvSpPr/>
            <p:nvPr/>
          </p:nvSpPr>
          <p:spPr>
            <a:xfrm>
              <a:off x="392112" y="760412"/>
              <a:ext cx="3825874" cy="3825874"/>
            </a:xfrm>
            <a:prstGeom prst="ellipse">
              <a:avLst/>
            </a:prstGeom>
            <a:gradFill>
              <a:gsLst>
                <a:gs pos="0">
                  <a:sysClr val="window" lastClr="FFFFFF"/>
                </a:gs>
                <a:gs pos="5100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75000"/>
                  </a:sysClr>
                </a:gs>
              </a:gsLst>
              <a:lin ang="189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 pitchFamily="34" charset="-122"/>
              </a:endParaRPr>
            </a:p>
          </p:txBody>
        </p:sp>
      </p:grpSp>
      <p:grpSp>
        <p:nvGrpSpPr>
          <p:cNvPr id="4" name="组合 75"/>
          <p:cNvGrpSpPr/>
          <p:nvPr/>
        </p:nvGrpSpPr>
        <p:grpSpPr>
          <a:xfrm>
            <a:off x="4847862" y="2374928"/>
            <a:ext cx="828533" cy="676032"/>
            <a:chOff x="304800" y="673100"/>
            <a:chExt cx="4000500" cy="4000500"/>
          </a:xfrm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23" name="同心圆 77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ysClr val="window" lastClr="FFFFFF"/>
                </a:gs>
                <a:gs pos="5500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65000"/>
                  </a:sysClr>
                </a:gs>
              </a:gsLst>
              <a:lin ang="81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/>
                <a:cs typeface="+mn-cs"/>
              </a:endParaRPr>
            </a:p>
          </p:txBody>
        </p:sp>
        <p:sp>
          <p:nvSpPr>
            <p:cNvPr id="24" name="椭圆 78"/>
            <p:cNvSpPr/>
            <p:nvPr/>
          </p:nvSpPr>
          <p:spPr>
            <a:xfrm>
              <a:off x="392112" y="760412"/>
              <a:ext cx="3825874" cy="3825874"/>
            </a:xfrm>
            <a:prstGeom prst="ellipse">
              <a:avLst/>
            </a:prstGeom>
            <a:gradFill>
              <a:gsLst>
                <a:gs pos="0">
                  <a:sysClr val="window" lastClr="FFFFFF"/>
                </a:gs>
                <a:gs pos="5100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75000"/>
                  </a:sysClr>
                </a:gs>
              </a:gsLst>
              <a:lin ang="189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/>
                <a:cs typeface="+mn-cs"/>
              </a:endParaRPr>
            </a:p>
          </p:txBody>
        </p:sp>
      </p:grpSp>
      <p:sp>
        <p:nvSpPr>
          <p:cNvPr id="25" name="原创设计师QQ598969553     _19"/>
          <p:cNvSpPr/>
          <p:nvPr/>
        </p:nvSpPr>
        <p:spPr>
          <a:xfrm>
            <a:off x="6576053" y="1"/>
            <a:ext cx="2400267" cy="461657"/>
          </a:xfrm>
          <a:prstGeom prst="rect">
            <a:avLst/>
          </a:prstGeom>
        </p:spPr>
        <p:txBody>
          <a:bodyPr wrap="square" lIns="91431" tIns="45716" rIns="91431" bIns="45716">
            <a:spAutoFit/>
          </a:bodyPr>
          <a:lstStyle/>
          <a:p>
            <a:pPr lvl="0" defTabSz="914400">
              <a:defRPr/>
            </a:pPr>
            <a:r>
              <a:rPr lang="ru-RU" altLang="zh-CN" sz="2400" b="1" kern="0" dirty="0" smtClean="0">
                <a:solidFill>
                  <a:srgbClr val="002060"/>
                </a:solidFill>
                <a:ea typeface="微软雅黑" pitchFamily="34" charset="-122"/>
              </a:rPr>
              <a:t>2,5 года</a:t>
            </a:r>
            <a:endParaRPr lang="en-US" altLang="zh-CN" sz="2400" b="1" kern="0" dirty="0" smtClean="0">
              <a:solidFill>
                <a:srgbClr val="002060"/>
              </a:solidFill>
              <a:ea typeface="微软雅黑" pitchFamily="34" charset="-122"/>
            </a:endParaRPr>
          </a:p>
        </p:txBody>
      </p:sp>
      <p:sp>
        <p:nvSpPr>
          <p:cNvPr id="26" name="原创设计师QQ598969553     _20"/>
          <p:cNvSpPr>
            <a:spLocks noChangeArrowheads="1"/>
          </p:cNvSpPr>
          <p:nvPr/>
        </p:nvSpPr>
        <p:spPr bwMode="auto">
          <a:xfrm>
            <a:off x="6576054" y="404664"/>
            <a:ext cx="5376597" cy="42344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31" tIns="45716" rIns="91431" bIns="45716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fontAlgn="base">
              <a:lnSpc>
                <a:spcPct val="150000"/>
              </a:lnSpc>
              <a:buClr>
                <a:srgbClr val="FF0000"/>
              </a:buClr>
              <a:buSzPct val="70000"/>
              <a:buFont typeface="Arial" charset="0"/>
              <a:buNone/>
              <a:defRPr/>
            </a:pPr>
            <a:r>
              <a:rPr lang="ru-RU" altLang="zh-CN" sz="1600" spc="-20" noProof="1" smtClean="0">
                <a:solidFill>
                  <a:srgbClr val="00478E"/>
                </a:solidFill>
                <a:latin typeface="+mn-lt"/>
                <a:ea typeface="+mn-ea"/>
              </a:rPr>
              <a:t>Средний возраст выявления нарушений</a:t>
            </a:r>
            <a:endParaRPr lang="en-US" altLang="zh-CN" sz="1600" spc="-20" noProof="1">
              <a:solidFill>
                <a:srgbClr val="00478E"/>
              </a:solidFill>
              <a:latin typeface="+mn-lt"/>
              <a:ea typeface="+mn-ea"/>
            </a:endParaRPr>
          </a:p>
        </p:txBody>
      </p:sp>
      <p:sp>
        <p:nvSpPr>
          <p:cNvPr id="27" name="原创设计师QQ598969553     _21"/>
          <p:cNvSpPr/>
          <p:nvPr/>
        </p:nvSpPr>
        <p:spPr>
          <a:xfrm>
            <a:off x="6672064" y="764705"/>
            <a:ext cx="1368536" cy="461657"/>
          </a:xfrm>
          <a:prstGeom prst="rect">
            <a:avLst/>
          </a:prstGeom>
        </p:spPr>
        <p:txBody>
          <a:bodyPr wrap="square" lIns="91431" tIns="45716" rIns="91431" bIns="45716">
            <a:spAutoFit/>
          </a:bodyPr>
          <a:lstStyle/>
          <a:p>
            <a:pPr lvl="0" defTabSz="914400">
              <a:defRPr/>
            </a:pPr>
            <a:r>
              <a:rPr lang="ru-RU" altLang="zh-CN" sz="2400" b="1" kern="0" dirty="0" smtClean="0">
                <a:solidFill>
                  <a:srgbClr val="002060"/>
                </a:solidFill>
                <a:ea typeface="微软雅黑" pitchFamily="34" charset="-122"/>
              </a:rPr>
              <a:t>7 лет</a:t>
            </a:r>
            <a:endParaRPr kumimoji="0" lang="zh-CN" altLang="en-US" sz="2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微软雅黑" pitchFamily="34" charset="-122"/>
            </a:endParaRPr>
          </a:p>
        </p:txBody>
      </p:sp>
      <p:sp>
        <p:nvSpPr>
          <p:cNvPr id="29" name="原创设计师QQ598969553     _24"/>
          <p:cNvSpPr>
            <a:spLocks noChangeArrowheads="1"/>
          </p:cNvSpPr>
          <p:nvPr/>
        </p:nvSpPr>
        <p:spPr bwMode="auto">
          <a:xfrm>
            <a:off x="5903979" y="2060848"/>
            <a:ext cx="6288021" cy="11264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31" tIns="45716" rIns="91431" bIns="45716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fontAlgn="base">
              <a:buClr>
                <a:srgbClr val="FF0000"/>
              </a:buClr>
              <a:buSzPct val="70000"/>
              <a:buNone/>
              <a:defRPr/>
            </a:pPr>
            <a:r>
              <a:rPr lang="ru-RU" altLang="zh-CN" sz="1600" spc="-20" noProof="1" smtClean="0">
                <a:solidFill>
                  <a:srgbClr val="00478E"/>
                </a:solidFill>
                <a:latin typeface="+mn-lt"/>
                <a:ea typeface="+mn-ea"/>
              </a:rPr>
              <a:t>Разовая помощь семьям, отсутствие комплексности и преемственности в вопросах абилитации и реабилитации детей с инвалидностью. </a:t>
            </a:r>
          </a:p>
          <a:p>
            <a:pPr fontAlgn="base">
              <a:buClr>
                <a:srgbClr val="FF0000"/>
              </a:buClr>
              <a:buSzPct val="70000"/>
              <a:buNone/>
              <a:defRPr/>
            </a:pPr>
            <a:r>
              <a:rPr lang="ru-RU" altLang="zh-CN" sz="1600" spc="-20" noProof="1" smtClean="0">
                <a:solidFill>
                  <a:srgbClr val="00478E"/>
                </a:solidFill>
                <a:latin typeface="+mn-lt"/>
                <a:ea typeface="+mn-ea"/>
              </a:rPr>
              <a:t>10% специалистов готовы обращаться за помощью в работе со сложными случаями</a:t>
            </a:r>
            <a:endParaRPr lang="en-US" altLang="zh-CN" sz="1600" spc="-20" noProof="1">
              <a:solidFill>
                <a:srgbClr val="00478E"/>
              </a:solidFill>
              <a:latin typeface="+mn-lt"/>
              <a:ea typeface="+mn-ea"/>
            </a:endParaRPr>
          </a:p>
        </p:txBody>
      </p:sp>
      <p:sp>
        <p:nvSpPr>
          <p:cNvPr id="30" name="原创设计师QQ598969553     _24"/>
          <p:cNvSpPr>
            <a:spLocks noChangeArrowheads="1"/>
          </p:cNvSpPr>
          <p:nvPr/>
        </p:nvSpPr>
        <p:spPr bwMode="auto">
          <a:xfrm>
            <a:off x="1295467" y="1150792"/>
            <a:ext cx="1319696" cy="52321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31" tIns="45716" rIns="91431" bIns="45716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algn="ctr">
              <a:spcBef>
                <a:spcPts val="0"/>
              </a:spcBef>
              <a:buFont typeface="Arial" charset="0"/>
              <a:buNone/>
            </a:pPr>
            <a:r>
              <a:rPr lang="ru-RU" altLang="zh-CN" sz="2800" b="1" dirty="0" smtClean="0">
                <a:solidFill>
                  <a:schemeClr val="bg1"/>
                </a:solidFill>
                <a:latin typeface="+mn-lt"/>
                <a:ea typeface="Microsoft YaHei Light" pitchFamily="34" charset="-122"/>
                <a:cs typeface="Calibri" pitchFamily="34" charset="0"/>
              </a:rPr>
              <a:t>2013</a:t>
            </a:r>
            <a:endParaRPr lang="en-US" altLang="zh-CN" sz="2800" b="1" dirty="0">
              <a:solidFill>
                <a:schemeClr val="bg1"/>
              </a:solidFill>
              <a:latin typeface="+mn-lt"/>
              <a:ea typeface="Microsoft YaHei Light" pitchFamily="34" charset="-122"/>
              <a:cs typeface="Calibri" pitchFamily="34" charset="0"/>
            </a:endParaRPr>
          </a:p>
        </p:txBody>
      </p:sp>
      <p:pic>
        <p:nvPicPr>
          <p:cNvPr id="31" name="Picture 4" descr="C:\Users\User\Downloads\5.png"/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847861" y="2420888"/>
            <a:ext cx="746499" cy="559874"/>
          </a:xfrm>
          <a:prstGeom prst="rect">
            <a:avLst/>
          </a:prstGeom>
          <a:noFill/>
        </p:spPr>
      </p:pic>
      <p:pic>
        <p:nvPicPr>
          <p:cNvPr id="32" name="Picture 7" descr="C:\Users\User\Downloads\sign-24149_1280.png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423925" y="358704"/>
            <a:ext cx="327112" cy="264333"/>
          </a:xfrm>
          <a:prstGeom prst="rect">
            <a:avLst/>
          </a:prstGeom>
          <a:noFill/>
        </p:spPr>
      </p:pic>
      <p:sp>
        <p:nvSpPr>
          <p:cNvPr id="33" name="原创设计师QQ598969553     _22"/>
          <p:cNvSpPr>
            <a:spLocks noChangeArrowheads="1"/>
          </p:cNvSpPr>
          <p:nvPr/>
        </p:nvSpPr>
        <p:spPr bwMode="auto">
          <a:xfrm>
            <a:off x="6576053" y="1196753"/>
            <a:ext cx="5184576" cy="58476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31" tIns="45716" rIns="91431" bIns="45716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fontAlgn="base">
              <a:buClr>
                <a:srgbClr val="FF0000"/>
              </a:buClr>
              <a:buSzPct val="70000"/>
              <a:buNone/>
              <a:defRPr/>
            </a:pPr>
            <a:r>
              <a:rPr lang="ru-RU" altLang="zh-CN" sz="1600" spc="-20" noProof="1" smtClean="0">
                <a:solidFill>
                  <a:srgbClr val="00478E"/>
                </a:solidFill>
                <a:latin typeface="+mn-lt"/>
                <a:ea typeface="+mn-ea"/>
              </a:rPr>
              <a:t>возраст выявления нарушений наблюдался у детей, проживающих в отдаленных районах Вологодской области</a:t>
            </a:r>
            <a:endParaRPr lang="en-US" altLang="zh-CN" sz="1600" spc="-20" noProof="1">
              <a:solidFill>
                <a:srgbClr val="00478E"/>
              </a:solidFill>
              <a:latin typeface="+mn-lt"/>
              <a:ea typeface="+mn-ea"/>
            </a:endParaRPr>
          </a:p>
        </p:txBody>
      </p:sp>
      <p:sp>
        <p:nvSpPr>
          <p:cNvPr id="34" name="原创设计师QQ598969553     _3"/>
          <p:cNvSpPr/>
          <p:nvPr/>
        </p:nvSpPr>
        <p:spPr>
          <a:xfrm rot="16200000">
            <a:off x="8712291" y="3215022"/>
            <a:ext cx="3024336" cy="3648405"/>
          </a:xfrm>
          <a:prstGeom prst="blockArc">
            <a:avLst>
              <a:gd name="adj1" fmla="val 10897210"/>
              <a:gd name="adj2" fmla="val 6953"/>
              <a:gd name="adj3" fmla="val 1246"/>
            </a:avLst>
          </a:prstGeom>
          <a:solidFill>
            <a:sysClr val="windowText" lastClr="000000">
              <a:lumMod val="50000"/>
              <a:lumOff val="5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1" tIns="45716" rIns="91431" bIns="45716" anchor="ctr"/>
          <a:lstStyle/>
          <a:p>
            <a:pPr marL="0" marR="0" lvl="0" indent="0" algn="ctr" defTabSz="9143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89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微软雅黑"/>
              <a:cs typeface="Arial" panose="020B0604020202020204" pitchFamily="34" charset="0"/>
            </a:endParaRPr>
          </a:p>
        </p:txBody>
      </p:sp>
      <p:cxnSp>
        <p:nvCxnSpPr>
          <p:cNvPr id="35" name="原创设计师QQ598969553     _5"/>
          <p:cNvCxnSpPr/>
          <p:nvPr/>
        </p:nvCxnSpPr>
        <p:spPr bwMode="auto">
          <a:xfrm>
            <a:off x="9236292" y="6335368"/>
            <a:ext cx="123675" cy="0"/>
          </a:xfrm>
          <a:prstGeom prst="line">
            <a:avLst/>
          </a:prstGeom>
          <a:noFill/>
          <a:ln w="12700" cap="flat" cmpd="sng" algn="ctr">
            <a:solidFill>
              <a:srgbClr val="9DA8B1"/>
            </a:solidFill>
            <a:prstDash val="solid"/>
          </a:ln>
          <a:effectLst/>
        </p:spPr>
      </p:cxnSp>
      <p:cxnSp>
        <p:nvCxnSpPr>
          <p:cNvPr id="36" name="原创设计师QQ598969553     _6"/>
          <p:cNvCxnSpPr/>
          <p:nvPr/>
        </p:nvCxnSpPr>
        <p:spPr bwMode="auto">
          <a:xfrm>
            <a:off x="9200412" y="3671072"/>
            <a:ext cx="114593" cy="0"/>
          </a:xfrm>
          <a:prstGeom prst="line">
            <a:avLst/>
          </a:prstGeom>
          <a:noFill/>
          <a:ln w="12700" cap="flat" cmpd="sng" algn="ctr">
            <a:solidFill>
              <a:srgbClr val="9DA8B1"/>
            </a:solidFill>
            <a:prstDash val="solid"/>
          </a:ln>
          <a:effectLst/>
        </p:spPr>
      </p:cxnSp>
      <p:cxnSp>
        <p:nvCxnSpPr>
          <p:cNvPr id="37" name="原创设计师QQ598969553     _7"/>
          <p:cNvCxnSpPr/>
          <p:nvPr/>
        </p:nvCxnSpPr>
        <p:spPr bwMode="auto">
          <a:xfrm>
            <a:off x="8373240" y="5039224"/>
            <a:ext cx="123747" cy="0"/>
          </a:xfrm>
          <a:prstGeom prst="line">
            <a:avLst/>
          </a:prstGeom>
          <a:noFill/>
          <a:ln w="12700" cap="flat" cmpd="sng" algn="ctr">
            <a:solidFill>
              <a:srgbClr val="9DA8B1"/>
            </a:solidFill>
            <a:prstDash val="solid"/>
          </a:ln>
          <a:effectLst/>
        </p:spPr>
      </p:cxnSp>
      <p:sp>
        <p:nvSpPr>
          <p:cNvPr id="38" name="椭圆 51"/>
          <p:cNvSpPr/>
          <p:nvPr/>
        </p:nvSpPr>
        <p:spPr bwMode="auto">
          <a:xfrm>
            <a:off x="9168342" y="4031113"/>
            <a:ext cx="2223099" cy="2174345"/>
          </a:xfrm>
          <a:prstGeom prst="ellipse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3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微软雅黑"/>
              <a:cs typeface="Arial" panose="020B0604020202020204" pitchFamily="34" charset="0"/>
            </a:endParaRPr>
          </a:p>
        </p:txBody>
      </p:sp>
      <p:cxnSp>
        <p:nvCxnSpPr>
          <p:cNvPr id="39" name="原创设计师QQ598969553     _7"/>
          <p:cNvCxnSpPr/>
          <p:nvPr/>
        </p:nvCxnSpPr>
        <p:spPr bwMode="auto">
          <a:xfrm>
            <a:off x="7344139" y="3887096"/>
            <a:ext cx="1655304" cy="0"/>
          </a:xfrm>
          <a:prstGeom prst="line">
            <a:avLst/>
          </a:prstGeom>
          <a:noFill/>
          <a:ln w="12700" cap="flat" cmpd="sng" algn="ctr">
            <a:solidFill>
              <a:srgbClr val="9DA8B1"/>
            </a:solidFill>
            <a:prstDash val="solid"/>
          </a:ln>
          <a:effectLst/>
        </p:spPr>
      </p:cxnSp>
      <p:sp>
        <p:nvSpPr>
          <p:cNvPr id="40" name="原创设计师QQ598969553     _12"/>
          <p:cNvSpPr/>
          <p:nvPr/>
        </p:nvSpPr>
        <p:spPr>
          <a:xfrm>
            <a:off x="8784300" y="3743080"/>
            <a:ext cx="465681" cy="359218"/>
          </a:xfrm>
          <a:prstGeom prst="ellipse">
            <a:avLst/>
          </a:prstGeom>
          <a:solidFill>
            <a:srgbClr val="206243"/>
          </a:solidFill>
          <a:ln w="25400" cap="flat" cmpd="sng" algn="ctr">
            <a:noFill/>
            <a:prstDash val="solid"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cxnSp>
        <p:nvCxnSpPr>
          <p:cNvPr id="41" name="原创设计师QQ598969553     _7"/>
          <p:cNvCxnSpPr/>
          <p:nvPr/>
        </p:nvCxnSpPr>
        <p:spPr bwMode="auto">
          <a:xfrm>
            <a:off x="6768075" y="5111232"/>
            <a:ext cx="1655304" cy="0"/>
          </a:xfrm>
          <a:prstGeom prst="line">
            <a:avLst/>
          </a:prstGeom>
          <a:noFill/>
          <a:ln w="12700" cap="flat" cmpd="sng" algn="ctr">
            <a:solidFill>
              <a:srgbClr val="9DA8B1"/>
            </a:solidFill>
            <a:prstDash val="solid"/>
          </a:ln>
          <a:effectLst/>
        </p:spPr>
      </p:cxnSp>
      <p:sp>
        <p:nvSpPr>
          <p:cNvPr id="42" name="原创设计师QQ598969553     _13"/>
          <p:cNvSpPr/>
          <p:nvPr/>
        </p:nvSpPr>
        <p:spPr>
          <a:xfrm>
            <a:off x="8208236" y="4895208"/>
            <a:ext cx="465681" cy="359218"/>
          </a:xfrm>
          <a:prstGeom prst="ellipse">
            <a:avLst/>
          </a:prstGeom>
          <a:solidFill>
            <a:srgbClr val="206243"/>
          </a:solidFill>
          <a:ln w="25400" cap="flat" cmpd="sng" algn="ctr">
            <a:noFill/>
            <a:prstDash val="solid"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cxnSp>
        <p:nvCxnSpPr>
          <p:cNvPr id="43" name="原创设计师QQ598969553     _7"/>
          <p:cNvCxnSpPr/>
          <p:nvPr/>
        </p:nvCxnSpPr>
        <p:spPr bwMode="auto">
          <a:xfrm>
            <a:off x="7536160" y="6263360"/>
            <a:ext cx="1655304" cy="0"/>
          </a:xfrm>
          <a:prstGeom prst="line">
            <a:avLst/>
          </a:prstGeom>
          <a:noFill/>
          <a:ln w="12700" cap="flat" cmpd="sng" algn="ctr">
            <a:solidFill>
              <a:srgbClr val="9DA8B1"/>
            </a:solidFill>
            <a:prstDash val="solid"/>
          </a:ln>
          <a:effectLst/>
        </p:spPr>
      </p:cxnSp>
      <p:sp>
        <p:nvSpPr>
          <p:cNvPr id="44" name="原创设计师QQ598969553     _14"/>
          <p:cNvSpPr/>
          <p:nvPr/>
        </p:nvSpPr>
        <p:spPr>
          <a:xfrm>
            <a:off x="8880310" y="6047336"/>
            <a:ext cx="465681" cy="359218"/>
          </a:xfrm>
          <a:prstGeom prst="ellipse">
            <a:avLst/>
          </a:prstGeom>
          <a:solidFill>
            <a:srgbClr val="206243"/>
          </a:solidFill>
          <a:ln w="25400" cap="flat" cmpd="sng" algn="ctr">
            <a:noFill/>
            <a:prstDash val="solid"/>
          </a:ln>
          <a:effectLst>
            <a:outerShdw blurRad="254000" dist="127000" dir="8100000" algn="tr" rotWithShape="0">
              <a:prstClr val="black">
                <a:alpha val="6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grpSp>
        <p:nvGrpSpPr>
          <p:cNvPr id="5" name="组合 65"/>
          <p:cNvGrpSpPr/>
          <p:nvPr/>
        </p:nvGrpSpPr>
        <p:grpSpPr>
          <a:xfrm>
            <a:off x="6672064" y="3455048"/>
            <a:ext cx="1071496" cy="826532"/>
            <a:chOff x="304800" y="673100"/>
            <a:chExt cx="4000500" cy="4000500"/>
          </a:xfrm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46" name="同心圆 67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ysClr val="window" lastClr="FFFFFF"/>
                </a:gs>
                <a:gs pos="5500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65000"/>
                  </a:sysClr>
                </a:gs>
              </a:gsLst>
              <a:lin ang="81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 pitchFamily="34" charset="-122"/>
              </a:endParaRPr>
            </a:p>
          </p:txBody>
        </p:sp>
        <p:sp>
          <p:nvSpPr>
            <p:cNvPr id="47" name="椭圆 68"/>
            <p:cNvSpPr/>
            <p:nvPr/>
          </p:nvSpPr>
          <p:spPr>
            <a:xfrm>
              <a:off x="392112" y="760412"/>
              <a:ext cx="3825874" cy="3825874"/>
            </a:xfrm>
            <a:prstGeom prst="ellipse">
              <a:avLst/>
            </a:prstGeom>
            <a:gradFill>
              <a:gsLst>
                <a:gs pos="0">
                  <a:sysClr val="window" lastClr="FFFFFF"/>
                </a:gs>
                <a:gs pos="5100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75000"/>
                  </a:sysClr>
                </a:gs>
              </a:gsLst>
              <a:lin ang="189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 pitchFamily="34" charset="-122"/>
              </a:endParaRPr>
            </a:p>
          </p:txBody>
        </p:sp>
      </p:grpSp>
      <p:grpSp>
        <p:nvGrpSpPr>
          <p:cNvPr id="14" name="组合 70"/>
          <p:cNvGrpSpPr/>
          <p:nvPr/>
        </p:nvGrpSpPr>
        <p:grpSpPr>
          <a:xfrm>
            <a:off x="6192011" y="4679184"/>
            <a:ext cx="1071496" cy="826532"/>
            <a:chOff x="304800" y="673100"/>
            <a:chExt cx="4000500" cy="4000500"/>
          </a:xfrm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49" name="同心圆 72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ysClr val="window" lastClr="FFFFFF"/>
                </a:gs>
                <a:gs pos="5500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65000"/>
                  </a:sysClr>
                </a:gs>
              </a:gsLst>
              <a:lin ang="81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 pitchFamily="34" charset="-122"/>
              </a:endParaRPr>
            </a:p>
          </p:txBody>
        </p:sp>
        <p:sp>
          <p:nvSpPr>
            <p:cNvPr id="50" name="椭圆 73"/>
            <p:cNvSpPr/>
            <p:nvPr/>
          </p:nvSpPr>
          <p:spPr>
            <a:xfrm>
              <a:off x="392112" y="760412"/>
              <a:ext cx="3825874" cy="3825874"/>
            </a:xfrm>
            <a:prstGeom prst="ellipse">
              <a:avLst/>
            </a:prstGeom>
            <a:gradFill>
              <a:gsLst>
                <a:gs pos="0">
                  <a:sysClr val="window" lastClr="FFFFFF"/>
                </a:gs>
                <a:gs pos="5100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75000"/>
                  </a:sysClr>
                </a:gs>
              </a:gsLst>
              <a:lin ang="189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 pitchFamily="34" charset="-122"/>
              </a:endParaRPr>
            </a:p>
          </p:txBody>
        </p:sp>
      </p:grpSp>
      <p:grpSp>
        <p:nvGrpSpPr>
          <p:cNvPr id="17" name="组合 75"/>
          <p:cNvGrpSpPr/>
          <p:nvPr/>
        </p:nvGrpSpPr>
        <p:grpSpPr>
          <a:xfrm>
            <a:off x="6672064" y="5975328"/>
            <a:ext cx="1071496" cy="826532"/>
            <a:chOff x="304800" y="673100"/>
            <a:chExt cx="4000500" cy="4000500"/>
          </a:xfrm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54" name="同心圆 77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ysClr val="window" lastClr="FFFFFF"/>
                </a:gs>
                <a:gs pos="5500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65000"/>
                  </a:sysClr>
                </a:gs>
              </a:gsLst>
              <a:lin ang="81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/>
                <a:cs typeface="+mn-cs"/>
              </a:endParaRPr>
            </a:p>
          </p:txBody>
        </p:sp>
        <p:sp>
          <p:nvSpPr>
            <p:cNvPr id="55" name="椭圆 78"/>
            <p:cNvSpPr/>
            <p:nvPr/>
          </p:nvSpPr>
          <p:spPr>
            <a:xfrm>
              <a:off x="392112" y="760412"/>
              <a:ext cx="3825874" cy="3825874"/>
            </a:xfrm>
            <a:prstGeom prst="ellipse">
              <a:avLst/>
            </a:prstGeom>
            <a:gradFill>
              <a:gsLst>
                <a:gs pos="0">
                  <a:sysClr val="window" lastClr="FFFFFF"/>
                </a:gs>
                <a:gs pos="51000">
                  <a:sysClr val="window" lastClr="FFFFFF">
                    <a:lumMod val="95000"/>
                  </a:sysClr>
                </a:gs>
                <a:gs pos="100000">
                  <a:sysClr val="window" lastClr="FFFFFF">
                    <a:lumMod val="75000"/>
                  </a:sysClr>
                </a:gs>
              </a:gsLst>
              <a:lin ang="1890000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/>
                <a:cs typeface="+mn-cs"/>
              </a:endParaRPr>
            </a:p>
          </p:txBody>
        </p:sp>
      </p:grpSp>
      <p:sp>
        <p:nvSpPr>
          <p:cNvPr id="56" name="原创设计师QQ598969553     _19"/>
          <p:cNvSpPr/>
          <p:nvPr/>
        </p:nvSpPr>
        <p:spPr>
          <a:xfrm>
            <a:off x="3503712" y="3383041"/>
            <a:ext cx="2766360" cy="461657"/>
          </a:xfrm>
          <a:prstGeom prst="rect">
            <a:avLst/>
          </a:prstGeom>
        </p:spPr>
        <p:txBody>
          <a:bodyPr wrap="square" lIns="91431" tIns="45716" rIns="91431" bIns="45716">
            <a:spAutoFit/>
          </a:bodyPr>
          <a:lstStyle/>
          <a:p>
            <a:pPr lvl="0" algn="r" defTabSz="914400">
              <a:defRPr/>
            </a:pPr>
            <a:r>
              <a:rPr lang="ru-RU" altLang="zh-CN" sz="2400" b="1" kern="0" dirty="0" smtClean="0">
                <a:solidFill>
                  <a:srgbClr val="002060"/>
                </a:solidFill>
                <a:ea typeface="微软雅黑" pitchFamily="34" charset="-122"/>
              </a:rPr>
              <a:t>6 месяцев</a:t>
            </a:r>
            <a:endParaRPr lang="en-US" altLang="zh-CN" sz="2400" b="1" kern="0" dirty="0" smtClean="0">
              <a:solidFill>
                <a:srgbClr val="002060"/>
              </a:solidFill>
              <a:ea typeface="微软雅黑" pitchFamily="34" charset="-122"/>
            </a:endParaRPr>
          </a:p>
        </p:txBody>
      </p:sp>
      <p:sp>
        <p:nvSpPr>
          <p:cNvPr id="57" name="原创设计师QQ598969553     _20"/>
          <p:cNvSpPr>
            <a:spLocks noChangeArrowheads="1"/>
          </p:cNvSpPr>
          <p:nvPr/>
        </p:nvSpPr>
        <p:spPr bwMode="auto">
          <a:xfrm>
            <a:off x="239350" y="3717032"/>
            <a:ext cx="6154865" cy="58476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31" tIns="45716" rIns="91431" bIns="45716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algn="r">
              <a:buNone/>
            </a:pPr>
            <a:r>
              <a:rPr lang="ru-RU" altLang="zh-CN" sz="1600" spc="-20" noProof="1" smtClean="0">
                <a:solidFill>
                  <a:srgbClr val="00478E"/>
                </a:solidFill>
                <a:latin typeface="+mn-lt"/>
                <a:ea typeface="+mn-ea"/>
              </a:rPr>
              <a:t>средний возраст выявления нарушения в развитии </a:t>
            </a:r>
          </a:p>
          <a:p>
            <a:pPr algn="r">
              <a:spcBef>
                <a:spcPts val="0"/>
              </a:spcBef>
              <a:buNone/>
            </a:pPr>
            <a:r>
              <a:rPr lang="ru-RU" altLang="zh-CN" sz="1600" spc="-20" noProof="1" smtClean="0">
                <a:solidFill>
                  <a:srgbClr val="00478E"/>
                </a:solidFill>
                <a:latin typeface="+mn-lt"/>
                <a:ea typeface="+mn-ea"/>
              </a:rPr>
              <a:t>у детей, в том числе и в отдаленных районах Вологодской области</a:t>
            </a:r>
            <a:endParaRPr lang="ru-RU" altLang="zh-CN" sz="1600" spc="-20" noProof="1" smtClean="0">
              <a:solidFill>
                <a:srgbClr val="00478E"/>
              </a:solidFill>
              <a:latin typeface="+mn-lt"/>
              <a:ea typeface="+mn-ea"/>
            </a:endParaRPr>
          </a:p>
        </p:txBody>
      </p:sp>
      <p:sp>
        <p:nvSpPr>
          <p:cNvPr id="58" name="原创设计师QQ598969553     _21"/>
          <p:cNvSpPr/>
          <p:nvPr/>
        </p:nvSpPr>
        <p:spPr>
          <a:xfrm>
            <a:off x="1199457" y="4463161"/>
            <a:ext cx="4590564" cy="461657"/>
          </a:xfrm>
          <a:prstGeom prst="rect">
            <a:avLst/>
          </a:prstGeom>
        </p:spPr>
        <p:txBody>
          <a:bodyPr wrap="square" lIns="91431" tIns="45716" rIns="91431" bIns="45716">
            <a:spAutoFit/>
          </a:bodyPr>
          <a:lstStyle/>
          <a:p>
            <a:pPr lvl="0" algn="r" defTabSz="914400">
              <a:defRPr/>
            </a:pPr>
            <a:r>
              <a:rPr lang="ru-RU" altLang="zh-CN" sz="2400" b="1" kern="0" dirty="0" smtClean="0">
                <a:solidFill>
                  <a:srgbClr val="002060"/>
                </a:solidFill>
                <a:ea typeface="微软雅黑" pitchFamily="34" charset="-122"/>
              </a:rPr>
              <a:t>до 150 человек в год</a:t>
            </a:r>
            <a:endParaRPr kumimoji="0" lang="zh-CN" altLang="en-US" sz="2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微软雅黑" pitchFamily="34" charset="-122"/>
            </a:endParaRPr>
          </a:p>
        </p:txBody>
      </p:sp>
      <p:sp>
        <p:nvSpPr>
          <p:cNvPr id="59" name="原创设计师QQ598969553     _22"/>
          <p:cNvSpPr>
            <a:spLocks noChangeArrowheads="1"/>
          </p:cNvSpPr>
          <p:nvPr/>
        </p:nvSpPr>
        <p:spPr bwMode="auto">
          <a:xfrm>
            <a:off x="0" y="4823200"/>
            <a:ext cx="5792935" cy="58476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31" tIns="45716" rIns="91431" bIns="45716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algn="r">
              <a:buNone/>
            </a:pPr>
            <a:r>
              <a:rPr lang="ru-RU" altLang="zh-CN" sz="1600" spc="-20" noProof="1" smtClean="0">
                <a:solidFill>
                  <a:srgbClr val="00478E"/>
                </a:solidFill>
                <a:latin typeface="+mn-lt"/>
                <a:ea typeface="+mn-ea"/>
              </a:rPr>
              <a:t>увеличение количества детей данной категории, прошедших диагностическое обследование и получающих социальные услуги</a:t>
            </a:r>
            <a:endParaRPr lang="en-US" altLang="zh-CN" sz="1600" spc="-20" noProof="1">
              <a:solidFill>
                <a:srgbClr val="00478E"/>
              </a:solidFill>
              <a:latin typeface="+mn-lt"/>
              <a:ea typeface="+mn-ea"/>
            </a:endParaRPr>
          </a:p>
        </p:txBody>
      </p:sp>
      <p:sp>
        <p:nvSpPr>
          <p:cNvPr id="60" name="原创设计师QQ598969553     _23"/>
          <p:cNvSpPr/>
          <p:nvPr/>
        </p:nvSpPr>
        <p:spPr>
          <a:xfrm>
            <a:off x="719403" y="5589241"/>
            <a:ext cx="5674812" cy="461657"/>
          </a:xfrm>
          <a:prstGeom prst="rect">
            <a:avLst/>
          </a:prstGeom>
        </p:spPr>
        <p:txBody>
          <a:bodyPr wrap="square" lIns="91431" tIns="45716" rIns="91431" bIns="45716">
            <a:spAutoFit/>
          </a:bodyPr>
          <a:lstStyle/>
          <a:p>
            <a:pPr lvl="0" defTabSz="914400">
              <a:defRPr/>
            </a:pPr>
            <a:r>
              <a:rPr lang="ru-RU" altLang="zh-CN" sz="2400" b="1" kern="0" dirty="0" smtClean="0">
                <a:solidFill>
                  <a:srgbClr val="002060"/>
                </a:solidFill>
                <a:ea typeface="微软雅黑" pitchFamily="34" charset="-122"/>
              </a:rPr>
              <a:t>свыше 3000 специалистов</a:t>
            </a:r>
            <a:endParaRPr kumimoji="0" lang="zh-CN" altLang="en-US" sz="2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微软雅黑" pitchFamily="34" charset="-122"/>
            </a:endParaRPr>
          </a:p>
        </p:txBody>
      </p:sp>
      <p:sp>
        <p:nvSpPr>
          <p:cNvPr id="61" name="原创设计师QQ598969553     _24"/>
          <p:cNvSpPr>
            <a:spLocks noChangeArrowheads="1"/>
          </p:cNvSpPr>
          <p:nvPr/>
        </p:nvSpPr>
        <p:spPr bwMode="auto">
          <a:xfrm>
            <a:off x="719404" y="5949280"/>
            <a:ext cx="5426649" cy="58476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31" tIns="45716" rIns="91431" bIns="45716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algn="r">
              <a:buNone/>
            </a:pPr>
            <a:r>
              <a:rPr lang="ru-RU" altLang="zh-CN" sz="1600" spc="-20" noProof="1" smtClean="0">
                <a:solidFill>
                  <a:srgbClr val="00478E"/>
                </a:solidFill>
                <a:latin typeface="+mn-lt"/>
                <a:ea typeface="+mn-ea"/>
              </a:rPr>
              <a:t>приняли участие в обучающих семинарах по вопросам развития и реабилитации детей с инвалидностью или ОВЗ</a:t>
            </a:r>
            <a:endParaRPr lang="en-US" altLang="zh-CN" sz="1600" spc="-20" noProof="1">
              <a:solidFill>
                <a:srgbClr val="00478E"/>
              </a:solidFill>
              <a:latin typeface="+mn-lt"/>
              <a:ea typeface="+mn-ea"/>
            </a:endParaRPr>
          </a:p>
        </p:txBody>
      </p:sp>
      <p:sp>
        <p:nvSpPr>
          <p:cNvPr id="62" name="原创设计师QQ598969553     _24"/>
          <p:cNvSpPr>
            <a:spLocks noChangeArrowheads="1"/>
          </p:cNvSpPr>
          <p:nvPr/>
        </p:nvSpPr>
        <p:spPr bwMode="auto">
          <a:xfrm>
            <a:off x="9251787" y="4734269"/>
            <a:ext cx="1994720" cy="76943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91431" tIns="45716" rIns="91431" bIns="45716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defRPr>
            </a:lvl9pPr>
          </a:lstStyle>
          <a:p>
            <a:pPr algn="ctr">
              <a:spcBef>
                <a:spcPts val="0"/>
              </a:spcBef>
              <a:buFont typeface="Arial" charset="0"/>
              <a:buNone/>
            </a:pPr>
            <a:r>
              <a:rPr lang="ru-RU" altLang="zh-CN" sz="4400" b="1" dirty="0" smtClean="0">
                <a:solidFill>
                  <a:schemeClr val="bg1"/>
                </a:solidFill>
                <a:latin typeface="+mn-lt"/>
                <a:ea typeface="Microsoft YaHei Light" pitchFamily="34" charset="-122"/>
                <a:cs typeface="Calibri" pitchFamily="34" charset="0"/>
              </a:rPr>
              <a:t>2021</a:t>
            </a:r>
            <a:endParaRPr lang="en-US" altLang="zh-CN" sz="4400" b="1" dirty="0">
              <a:solidFill>
                <a:schemeClr val="bg1"/>
              </a:solidFill>
              <a:latin typeface="+mn-lt"/>
              <a:ea typeface="Microsoft YaHei Light" pitchFamily="34" charset="-122"/>
              <a:cs typeface="Calibri" pitchFamily="34" charset="0"/>
            </a:endParaRPr>
          </a:p>
        </p:txBody>
      </p:sp>
      <p:pic>
        <p:nvPicPr>
          <p:cNvPr id="63" name="Picture 4" descr="C:\Users\User\Downloads\5.png"/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672065" y="6060964"/>
            <a:ext cx="1062716" cy="797037"/>
          </a:xfrm>
          <a:prstGeom prst="rect">
            <a:avLst/>
          </a:prstGeom>
          <a:noFill/>
        </p:spPr>
      </p:pic>
      <p:pic>
        <p:nvPicPr>
          <p:cNvPr id="64" name="Picture 7" descr="C:\Users\User\Downloads\sign-24149_1280.png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960097" y="3671072"/>
            <a:ext cx="514476" cy="415739"/>
          </a:xfrm>
          <a:prstGeom prst="rect">
            <a:avLst/>
          </a:prstGeom>
          <a:noFill/>
        </p:spPr>
      </p:pic>
      <p:sp>
        <p:nvSpPr>
          <p:cNvPr id="65" name="Freeform 110"/>
          <p:cNvSpPr>
            <a:spLocks noChangeAspect="1" noEditPoints="1"/>
          </p:cNvSpPr>
          <p:nvPr/>
        </p:nvSpPr>
        <p:spPr bwMode="auto">
          <a:xfrm>
            <a:off x="5903979" y="1268761"/>
            <a:ext cx="409480" cy="296197"/>
          </a:xfrm>
          <a:custGeom>
            <a:avLst/>
            <a:gdLst>
              <a:gd name="T0" fmla="*/ 55 w 100"/>
              <a:gd name="T1" fmla="*/ 4 h 88"/>
              <a:gd name="T2" fmla="*/ 76 w 100"/>
              <a:gd name="T3" fmla="*/ 41 h 88"/>
              <a:gd name="T4" fmla="*/ 76 w 100"/>
              <a:gd name="T5" fmla="*/ 41 h 88"/>
              <a:gd name="T6" fmla="*/ 98 w 100"/>
              <a:gd name="T7" fmla="*/ 79 h 88"/>
              <a:gd name="T8" fmla="*/ 96 w 100"/>
              <a:gd name="T9" fmla="*/ 87 h 88"/>
              <a:gd name="T10" fmla="*/ 92 w 100"/>
              <a:gd name="T11" fmla="*/ 88 h 88"/>
              <a:gd name="T12" fmla="*/ 92 w 100"/>
              <a:gd name="T13" fmla="*/ 88 h 88"/>
              <a:gd name="T14" fmla="*/ 49 w 100"/>
              <a:gd name="T15" fmla="*/ 88 h 88"/>
              <a:gd name="T16" fmla="*/ 7 w 100"/>
              <a:gd name="T17" fmla="*/ 88 h 88"/>
              <a:gd name="T18" fmla="*/ 0 w 100"/>
              <a:gd name="T19" fmla="*/ 82 h 88"/>
              <a:gd name="T20" fmla="*/ 1 w 100"/>
              <a:gd name="T21" fmla="*/ 78 h 88"/>
              <a:gd name="T22" fmla="*/ 23 w 100"/>
              <a:gd name="T23" fmla="*/ 41 h 88"/>
              <a:gd name="T24" fmla="*/ 23 w 100"/>
              <a:gd name="T25" fmla="*/ 41 h 88"/>
              <a:gd name="T26" fmla="*/ 44 w 100"/>
              <a:gd name="T27" fmla="*/ 4 h 88"/>
              <a:gd name="T28" fmla="*/ 53 w 100"/>
              <a:gd name="T29" fmla="*/ 2 h 88"/>
              <a:gd name="T30" fmla="*/ 55 w 100"/>
              <a:gd name="T31" fmla="*/ 4 h 88"/>
              <a:gd name="T32" fmla="*/ 44 w 100"/>
              <a:gd name="T33" fmla="*/ 34 h 88"/>
              <a:gd name="T34" fmla="*/ 44 w 100"/>
              <a:gd name="T35" fmla="*/ 37 h 88"/>
              <a:gd name="T36" fmla="*/ 46 w 100"/>
              <a:gd name="T37" fmla="*/ 62 h 88"/>
              <a:gd name="T38" fmla="*/ 52 w 100"/>
              <a:gd name="T39" fmla="*/ 62 h 88"/>
              <a:gd name="T40" fmla="*/ 54 w 100"/>
              <a:gd name="T41" fmla="*/ 37 h 88"/>
              <a:gd name="T42" fmla="*/ 54 w 100"/>
              <a:gd name="T43" fmla="*/ 34 h 88"/>
              <a:gd name="T44" fmla="*/ 44 w 100"/>
              <a:gd name="T45" fmla="*/ 34 h 88"/>
              <a:gd name="T46" fmla="*/ 49 w 100"/>
              <a:gd name="T47" fmla="*/ 72 h 88"/>
              <a:gd name="T48" fmla="*/ 53 w 100"/>
              <a:gd name="T49" fmla="*/ 69 h 88"/>
              <a:gd name="T50" fmla="*/ 49 w 100"/>
              <a:gd name="T51" fmla="*/ 65 h 88"/>
              <a:gd name="T52" fmla="*/ 45 w 100"/>
              <a:gd name="T53" fmla="*/ 69 h 88"/>
              <a:gd name="T54" fmla="*/ 49 w 100"/>
              <a:gd name="T55" fmla="*/ 72 h 88"/>
              <a:gd name="T56" fmla="*/ 65 w 100"/>
              <a:gd name="T57" fmla="*/ 48 h 88"/>
              <a:gd name="T58" fmla="*/ 49 w 100"/>
              <a:gd name="T59" fmla="*/ 20 h 88"/>
              <a:gd name="T60" fmla="*/ 34 w 100"/>
              <a:gd name="T61" fmla="*/ 47 h 88"/>
              <a:gd name="T62" fmla="*/ 33 w 100"/>
              <a:gd name="T63" fmla="*/ 48 h 88"/>
              <a:gd name="T64" fmla="*/ 17 w 100"/>
              <a:gd name="T65" fmla="*/ 75 h 88"/>
              <a:gd name="T66" fmla="*/ 49 w 100"/>
              <a:gd name="T67" fmla="*/ 75 h 88"/>
              <a:gd name="T68" fmla="*/ 81 w 100"/>
              <a:gd name="T69" fmla="*/ 75 h 88"/>
              <a:gd name="T70" fmla="*/ 65 w 100"/>
              <a:gd name="T71" fmla="*/ 48 h 88"/>
              <a:gd name="T72" fmla="*/ 65 w 100"/>
              <a:gd name="T73" fmla="*/ 4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0" h="88">
                <a:moveTo>
                  <a:pt x="55" y="4"/>
                </a:moveTo>
                <a:cubicBezTo>
                  <a:pt x="76" y="41"/>
                  <a:pt x="76" y="41"/>
                  <a:pt x="76" y="41"/>
                </a:cubicBezTo>
                <a:cubicBezTo>
                  <a:pt x="76" y="41"/>
                  <a:pt x="76" y="41"/>
                  <a:pt x="76" y="41"/>
                </a:cubicBezTo>
                <a:cubicBezTo>
                  <a:pt x="98" y="79"/>
                  <a:pt x="98" y="79"/>
                  <a:pt x="98" y="79"/>
                </a:cubicBezTo>
                <a:cubicBezTo>
                  <a:pt x="100" y="82"/>
                  <a:pt x="99" y="85"/>
                  <a:pt x="96" y="87"/>
                </a:cubicBezTo>
                <a:cubicBezTo>
                  <a:pt x="95" y="88"/>
                  <a:pt x="93" y="88"/>
                  <a:pt x="92" y="88"/>
                </a:cubicBezTo>
                <a:cubicBezTo>
                  <a:pt x="92" y="88"/>
                  <a:pt x="92" y="88"/>
                  <a:pt x="92" y="88"/>
                </a:cubicBezTo>
                <a:cubicBezTo>
                  <a:pt x="49" y="88"/>
                  <a:pt x="49" y="88"/>
                  <a:pt x="49" y="88"/>
                </a:cubicBezTo>
                <a:cubicBezTo>
                  <a:pt x="7" y="88"/>
                  <a:pt x="7" y="88"/>
                  <a:pt x="7" y="88"/>
                </a:cubicBezTo>
                <a:cubicBezTo>
                  <a:pt x="3" y="88"/>
                  <a:pt x="0" y="85"/>
                  <a:pt x="0" y="82"/>
                </a:cubicBezTo>
                <a:cubicBezTo>
                  <a:pt x="0" y="80"/>
                  <a:pt x="1" y="79"/>
                  <a:pt x="1" y="78"/>
                </a:cubicBezTo>
                <a:cubicBezTo>
                  <a:pt x="23" y="41"/>
                  <a:pt x="23" y="41"/>
                  <a:pt x="23" y="41"/>
                </a:cubicBezTo>
                <a:cubicBezTo>
                  <a:pt x="23" y="41"/>
                  <a:pt x="23" y="41"/>
                  <a:pt x="23" y="41"/>
                </a:cubicBezTo>
                <a:cubicBezTo>
                  <a:pt x="44" y="4"/>
                  <a:pt x="44" y="4"/>
                  <a:pt x="44" y="4"/>
                </a:cubicBezTo>
                <a:cubicBezTo>
                  <a:pt x="46" y="1"/>
                  <a:pt x="50" y="0"/>
                  <a:pt x="53" y="2"/>
                </a:cubicBezTo>
                <a:cubicBezTo>
                  <a:pt x="54" y="3"/>
                  <a:pt x="54" y="3"/>
                  <a:pt x="55" y="4"/>
                </a:cubicBezTo>
                <a:close/>
                <a:moveTo>
                  <a:pt x="44" y="34"/>
                </a:moveTo>
                <a:cubicBezTo>
                  <a:pt x="44" y="37"/>
                  <a:pt x="44" y="37"/>
                  <a:pt x="44" y="37"/>
                </a:cubicBezTo>
                <a:cubicBezTo>
                  <a:pt x="46" y="62"/>
                  <a:pt x="46" y="62"/>
                  <a:pt x="46" y="62"/>
                </a:cubicBezTo>
                <a:cubicBezTo>
                  <a:pt x="52" y="62"/>
                  <a:pt x="52" y="62"/>
                  <a:pt x="52" y="62"/>
                </a:cubicBezTo>
                <a:cubicBezTo>
                  <a:pt x="54" y="37"/>
                  <a:pt x="54" y="37"/>
                  <a:pt x="54" y="37"/>
                </a:cubicBezTo>
                <a:cubicBezTo>
                  <a:pt x="54" y="34"/>
                  <a:pt x="54" y="34"/>
                  <a:pt x="54" y="34"/>
                </a:cubicBezTo>
                <a:cubicBezTo>
                  <a:pt x="44" y="34"/>
                  <a:pt x="44" y="34"/>
                  <a:pt x="44" y="34"/>
                </a:cubicBezTo>
                <a:close/>
                <a:moveTo>
                  <a:pt x="49" y="72"/>
                </a:moveTo>
                <a:cubicBezTo>
                  <a:pt x="52" y="72"/>
                  <a:pt x="53" y="71"/>
                  <a:pt x="53" y="69"/>
                </a:cubicBezTo>
                <a:cubicBezTo>
                  <a:pt x="53" y="66"/>
                  <a:pt x="51" y="65"/>
                  <a:pt x="49" y="65"/>
                </a:cubicBezTo>
                <a:cubicBezTo>
                  <a:pt x="47" y="65"/>
                  <a:pt x="45" y="66"/>
                  <a:pt x="45" y="69"/>
                </a:cubicBezTo>
                <a:cubicBezTo>
                  <a:pt x="45" y="71"/>
                  <a:pt x="47" y="72"/>
                  <a:pt x="49" y="72"/>
                </a:cubicBezTo>
                <a:close/>
                <a:moveTo>
                  <a:pt x="65" y="48"/>
                </a:moveTo>
                <a:cubicBezTo>
                  <a:pt x="49" y="20"/>
                  <a:pt x="49" y="20"/>
                  <a:pt x="49" y="20"/>
                </a:cubicBezTo>
                <a:cubicBezTo>
                  <a:pt x="34" y="47"/>
                  <a:pt x="34" y="47"/>
                  <a:pt x="34" y="47"/>
                </a:cubicBezTo>
                <a:cubicBezTo>
                  <a:pt x="34" y="48"/>
                  <a:pt x="34" y="48"/>
                  <a:pt x="33" y="48"/>
                </a:cubicBezTo>
                <a:cubicBezTo>
                  <a:pt x="17" y="75"/>
                  <a:pt x="17" y="75"/>
                  <a:pt x="17" y="75"/>
                </a:cubicBezTo>
                <a:cubicBezTo>
                  <a:pt x="49" y="75"/>
                  <a:pt x="49" y="75"/>
                  <a:pt x="49" y="75"/>
                </a:cubicBezTo>
                <a:cubicBezTo>
                  <a:pt x="81" y="75"/>
                  <a:pt x="81" y="75"/>
                  <a:pt x="81" y="75"/>
                </a:cubicBezTo>
                <a:cubicBezTo>
                  <a:pt x="65" y="48"/>
                  <a:pt x="65" y="48"/>
                  <a:pt x="65" y="48"/>
                </a:cubicBezTo>
                <a:cubicBezTo>
                  <a:pt x="65" y="48"/>
                  <a:pt x="65" y="48"/>
                  <a:pt x="65" y="48"/>
                </a:cubicBezTo>
                <a:close/>
              </a:path>
            </a:pathLst>
          </a:custGeom>
          <a:solidFill>
            <a:srgbClr val="206243"/>
          </a:solidFill>
          <a:ln>
            <a:noFill/>
          </a:ln>
          <a:extLst/>
        </p:spPr>
        <p:txBody>
          <a:bodyPr lIns="121920" tIns="60960" rIns="121920" bIns="60960"/>
          <a:lstStyle/>
          <a:p>
            <a:pPr marL="0" marR="0" lvl="0" indent="0" defTabSz="9143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89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66" name="Freeform 110"/>
          <p:cNvSpPr>
            <a:spLocks noChangeAspect="1" noEditPoints="1"/>
          </p:cNvSpPr>
          <p:nvPr/>
        </p:nvSpPr>
        <p:spPr bwMode="auto">
          <a:xfrm>
            <a:off x="6480043" y="4869160"/>
            <a:ext cx="529559" cy="362138"/>
          </a:xfrm>
          <a:custGeom>
            <a:avLst/>
            <a:gdLst>
              <a:gd name="T0" fmla="*/ 55 w 100"/>
              <a:gd name="T1" fmla="*/ 4 h 88"/>
              <a:gd name="T2" fmla="*/ 76 w 100"/>
              <a:gd name="T3" fmla="*/ 41 h 88"/>
              <a:gd name="T4" fmla="*/ 76 w 100"/>
              <a:gd name="T5" fmla="*/ 41 h 88"/>
              <a:gd name="T6" fmla="*/ 98 w 100"/>
              <a:gd name="T7" fmla="*/ 79 h 88"/>
              <a:gd name="T8" fmla="*/ 96 w 100"/>
              <a:gd name="T9" fmla="*/ 87 h 88"/>
              <a:gd name="T10" fmla="*/ 92 w 100"/>
              <a:gd name="T11" fmla="*/ 88 h 88"/>
              <a:gd name="T12" fmla="*/ 92 w 100"/>
              <a:gd name="T13" fmla="*/ 88 h 88"/>
              <a:gd name="T14" fmla="*/ 49 w 100"/>
              <a:gd name="T15" fmla="*/ 88 h 88"/>
              <a:gd name="T16" fmla="*/ 7 w 100"/>
              <a:gd name="T17" fmla="*/ 88 h 88"/>
              <a:gd name="T18" fmla="*/ 0 w 100"/>
              <a:gd name="T19" fmla="*/ 82 h 88"/>
              <a:gd name="T20" fmla="*/ 1 w 100"/>
              <a:gd name="T21" fmla="*/ 78 h 88"/>
              <a:gd name="T22" fmla="*/ 23 w 100"/>
              <a:gd name="T23" fmla="*/ 41 h 88"/>
              <a:gd name="T24" fmla="*/ 23 w 100"/>
              <a:gd name="T25" fmla="*/ 41 h 88"/>
              <a:gd name="T26" fmla="*/ 44 w 100"/>
              <a:gd name="T27" fmla="*/ 4 h 88"/>
              <a:gd name="T28" fmla="*/ 53 w 100"/>
              <a:gd name="T29" fmla="*/ 2 h 88"/>
              <a:gd name="T30" fmla="*/ 55 w 100"/>
              <a:gd name="T31" fmla="*/ 4 h 88"/>
              <a:gd name="T32" fmla="*/ 44 w 100"/>
              <a:gd name="T33" fmla="*/ 34 h 88"/>
              <a:gd name="T34" fmla="*/ 44 w 100"/>
              <a:gd name="T35" fmla="*/ 37 h 88"/>
              <a:gd name="T36" fmla="*/ 46 w 100"/>
              <a:gd name="T37" fmla="*/ 62 h 88"/>
              <a:gd name="T38" fmla="*/ 52 w 100"/>
              <a:gd name="T39" fmla="*/ 62 h 88"/>
              <a:gd name="T40" fmla="*/ 54 w 100"/>
              <a:gd name="T41" fmla="*/ 37 h 88"/>
              <a:gd name="T42" fmla="*/ 54 w 100"/>
              <a:gd name="T43" fmla="*/ 34 h 88"/>
              <a:gd name="T44" fmla="*/ 44 w 100"/>
              <a:gd name="T45" fmla="*/ 34 h 88"/>
              <a:gd name="T46" fmla="*/ 49 w 100"/>
              <a:gd name="T47" fmla="*/ 72 h 88"/>
              <a:gd name="T48" fmla="*/ 53 w 100"/>
              <a:gd name="T49" fmla="*/ 69 h 88"/>
              <a:gd name="T50" fmla="*/ 49 w 100"/>
              <a:gd name="T51" fmla="*/ 65 h 88"/>
              <a:gd name="T52" fmla="*/ 45 w 100"/>
              <a:gd name="T53" fmla="*/ 69 h 88"/>
              <a:gd name="T54" fmla="*/ 49 w 100"/>
              <a:gd name="T55" fmla="*/ 72 h 88"/>
              <a:gd name="T56" fmla="*/ 65 w 100"/>
              <a:gd name="T57" fmla="*/ 48 h 88"/>
              <a:gd name="T58" fmla="*/ 49 w 100"/>
              <a:gd name="T59" fmla="*/ 20 h 88"/>
              <a:gd name="T60" fmla="*/ 34 w 100"/>
              <a:gd name="T61" fmla="*/ 47 h 88"/>
              <a:gd name="T62" fmla="*/ 33 w 100"/>
              <a:gd name="T63" fmla="*/ 48 h 88"/>
              <a:gd name="T64" fmla="*/ 17 w 100"/>
              <a:gd name="T65" fmla="*/ 75 h 88"/>
              <a:gd name="T66" fmla="*/ 49 w 100"/>
              <a:gd name="T67" fmla="*/ 75 h 88"/>
              <a:gd name="T68" fmla="*/ 81 w 100"/>
              <a:gd name="T69" fmla="*/ 75 h 88"/>
              <a:gd name="T70" fmla="*/ 65 w 100"/>
              <a:gd name="T71" fmla="*/ 48 h 88"/>
              <a:gd name="T72" fmla="*/ 65 w 100"/>
              <a:gd name="T73" fmla="*/ 4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0" h="88">
                <a:moveTo>
                  <a:pt x="55" y="4"/>
                </a:moveTo>
                <a:cubicBezTo>
                  <a:pt x="76" y="41"/>
                  <a:pt x="76" y="41"/>
                  <a:pt x="76" y="41"/>
                </a:cubicBezTo>
                <a:cubicBezTo>
                  <a:pt x="76" y="41"/>
                  <a:pt x="76" y="41"/>
                  <a:pt x="76" y="41"/>
                </a:cubicBezTo>
                <a:cubicBezTo>
                  <a:pt x="98" y="79"/>
                  <a:pt x="98" y="79"/>
                  <a:pt x="98" y="79"/>
                </a:cubicBezTo>
                <a:cubicBezTo>
                  <a:pt x="100" y="82"/>
                  <a:pt x="99" y="85"/>
                  <a:pt x="96" y="87"/>
                </a:cubicBezTo>
                <a:cubicBezTo>
                  <a:pt x="95" y="88"/>
                  <a:pt x="93" y="88"/>
                  <a:pt x="92" y="88"/>
                </a:cubicBezTo>
                <a:cubicBezTo>
                  <a:pt x="92" y="88"/>
                  <a:pt x="92" y="88"/>
                  <a:pt x="92" y="88"/>
                </a:cubicBezTo>
                <a:cubicBezTo>
                  <a:pt x="49" y="88"/>
                  <a:pt x="49" y="88"/>
                  <a:pt x="49" y="88"/>
                </a:cubicBezTo>
                <a:cubicBezTo>
                  <a:pt x="7" y="88"/>
                  <a:pt x="7" y="88"/>
                  <a:pt x="7" y="88"/>
                </a:cubicBezTo>
                <a:cubicBezTo>
                  <a:pt x="3" y="88"/>
                  <a:pt x="0" y="85"/>
                  <a:pt x="0" y="82"/>
                </a:cubicBezTo>
                <a:cubicBezTo>
                  <a:pt x="0" y="80"/>
                  <a:pt x="1" y="79"/>
                  <a:pt x="1" y="78"/>
                </a:cubicBezTo>
                <a:cubicBezTo>
                  <a:pt x="23" y="41"/>
                  <a:pt x="23" y="41"/>
                  <a:pt x="23" y="41"/>
                </a:cubicBezTo>
                <a:cubicBezTo>
                  <a:pt x="23" y="41"/>
                  <a:pt x="23" y="41"/>
                  <a:pt x="23" y="41"/>
                </a:cubicBezTo>
                <a:cubicBezTo>
                  <a:pt x="44" y="4"/>
                  <a:pt x="44" y="4"/>
                  <a:pt x="44" y="4"/>
                </a:cubicBezTo>
                <a:cubicBezTo>
                  <a:pt x="46" y="1"/>
                  <a:pt x="50" y="0"/>
                  <a:pt x="53" y="2"/>
                </a:cubicBezTo>
                <a:cubicBezTo>
                  <a:pt x="54" y="3"/>
                  <a:pt x="54" y="3"/>
                  <a:pt x="55" y="4"/>
                </a:cubicBezTo>
                <a:close/>
                <a:moveTo>
                  <a:pt x="44" y="34"/>
                </a:moveTo>
                <a:cubicBezTo>
                  <a:pt x="44" y="37"/>
                  <a:pt x="44" y="37"/>
                  <a:pt x="44" y="37"/>
                </a:cubicBezTo>
                <a:cubicBezTo>
                  <a:pt x="46" y="62"/>
                  <a:pt x="46" y="62"/>
                  <a:pt x="46" y="62"/>
                </a:cubicBezTo>
                <a:cubicBezTo>
                  <a:pt x="52" y="62"/>
                  <a:pt x="52" y="62"/>
                  <a:pt x="52" y="62"/>
                </a:cubicBezTo>
                <a:cubicBezTo>
                  <a:pt x="54" y="37"/>
                  <a:pt x="54" y="37"/>
                  <a:pt x="54" y="37"/>
                </a:cubicBezTo>
                <a:cubicBezTo>
                  <a:pt x="54" y="34"/>
                  <a:pt x="54" y="34"/>
                  <a:pt x="54" y="34"/>
                </a:cubicBezTo>
                <a:cubicBezTo>
                  <a:pt x="44" y="34"/>
                  <a:pt x="44" y="34"/>
                  <a:pt x="44" y="34"/>
                </a:cubicBezTo>
                <a:close/>
                <a:moveTo>
                  <a:pt x="49" y="72"/>
                </a:moveTo>
                <a:cubicBezTo>
                  <a:pt x="52" y="72"/>
                  <a:pt x="53" y="71"/>
                  <a:pt x="53" y="69"/>
                </a:cubicBezTo>
                <a:cubicBezTo>
                  <a:pt x="53" y="66"/>
                  <a:pt x="51" y="65"/>
                  <a:pt x="49" y="65"/>
                </a:cubicBezTo>
                <a:cubicBezTo>
                  <a:pt x="47" y="65"/>
                  <a:pt x="45" y="66"/>
                  <a:pt x="45" y="69"/>
                </a:cubicBezTo>
                <a:cubicBezTo>
                  <a:pt x="45" y="71"/>
                  <a:pt x="47" y="72"/>
                  <a:pt x="49" y="72"/>
                </a:cubicBezTo>
                <a:close/>
                <a:moveTo>
                  <a:pt x="65" y="48"/>
                </a:moveTo>
                <a:cubicBezTo>
                  <a:pt x="49" y="20"/>
                  <a:pt x="49" y="20"/>
                  <a:pt x="49" y="20"/>
                </a:cubicBezTo>
                <a:cubicBezTo>
                  <a:pt x="34" y="47"/>
                  <a:pt x="34" y="47"/>
                  <a:pt x="34" y="47"/>
                </a:cubicBezTo>
                <a:cubicBezTo>
                  <a:pt x="34" y="48"/>
                  <a:pt x="34" y="48"/>
                  <a:pt x="33" y="48"/>
                </a:cubicBezTo>
                <a:cubicBezTo>
                  <a:pt x="17" y="75"/>
                  <a:pt x="17" y="75"/>
                  <a:pt x="17" y="75"/>
                </a:cubicBezTo>
                <a:cubicBezTo>
                  <a:pt x="49" y="75"/>
                  <a:pt x="49" y="75"/>
                  <a:pt x="49" y="75"/>
                </a:cubicBezTo>
                <a:cubicBezTo>
                  <a:pt x="81" y="75"/>
                  <a:pt x="81" y="75"/>
                  <a:pt x="81" y="75"/>
                </a:cubicBezTo>
                <a:cubicBezTo>
                  <a:pt x="65" y="48"/>
                  <a:pt x="65" y="48"/>
                  <a:pt x="65" y="48"/>
                </a:cubicBezTo>
                <a:cubicBezTo>
                  <a:pt x="65" y="48"/>
                  <a:pt x="65" y="48"/>
                  <a:pt x="65" y="48"/>
                </a:cubicBezTo>
                <a:close/>
              </a:path>
            </a:pathLst>
          </a:custGeom>
          <a:solidFill>
            <a:srgbClr val="206243"/>
          </a:solidFill>
          <a:ln>
            <a:noFill/>
          </a:ln>
          <a:extLst/>
        </p:spPr>
        <p:txBody>
          <a:bodyPr lIns="121920" tIns="60960" rIns="121920" bIns="60960"/>
          <a:lstStyle/>
          <a:p>
            <a:pPr marL="0" marR="0" lvl="0" indent="0" defTabSz="91433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89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微软雅黑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FC96DA1A-4EF2-FB00-401D-D85E39A3C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05478"/>
            <a:ext cx="10515600" cy="931222"/>
          </a:xfrm>
        </p:spPr>
        <p:txBody>
          <a:bodyPr anchor="t">
            <a:normAutofit fontScale="90000"/>
          </a:bodyPr>
          <a:lstStyle/>
          <a:p>
            <a:r>
              <a:rPr lang="ru-RU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Ключевые аспекты обучения на стажировочной площадке </a:t>
            </a:r>
            <a:br>
              <a:rPr lang="ru-RU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</a:br>
            <a:r>
              <a:rPr lang="ru-RU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«Выездной </a:t>
            </a:r>
            <a:r>
              <a:rPr lang="ru-RU" dirty="0" err="1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микрореабилитационный</a:t>
            </a:r>
            <a:r>
              <a:rPr lang="ru-RU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 центр»</a:t>
            </a:r>
            <a:endParaRPr lang="ru-RU" dirty="0"/>
          </a:p>
        </p:txBody>
      </p:sp>
      <p:sp>
        <p:nvSpPr>
          <p:cNvPr id="5" name="Текст 15">
            <a:extLst>
              <a:ext uri="{FF2B5EF4-FFF2-40B4-BE49-F238E27FC236}">
                <a16:creationId xmlns="" xmlns:a16="http://schemas.microsoft.com/office/drawing/2014/main" id="{06E9C440-D588-0A31-1038-32FB34BFAED5}"/>
              </a:ext>
            </a:extLst>
          </p:cNvPr>
          <p:cNvSpPr txBox="1">
            <a:spLocks/>
          </p:cNvSpPr>
          <p:nvPr/>
        </p:nvSpPr>
        <p:spPr>
          <a:xfrm>
            <a:off x="836611" y="5989605"/>
            <a:ext cx="469675" cy="3568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smtClean="0">
                <a:solidFill>
                  <a:srgbClr val="002060"/>
                </a:solidFill>
              </a:rPr>
              <a:t>03</a:t>
            </a:r>
            <a:endParaRPr lang="ru-RU" sz="2000" dirty="0">
              <a:solidFill>
                <a:srgbClr val="002060"/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85DD1C21-D89D-2A67-A872-C492E006FC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7417" y="0"/>
            <a:ext cx="164432" cy="6858000"/>
          </a:xfrm>
          <a:prstGeom prst="rect">
            <a:avLst/>
          </a:prstGeom>
        </p:spPr>
      </p:pic>
      <p:grpSp>
        <p:nvGrpSpPr>
          <p:cNvPr id="12" name="组合 22"/>
          <p:cNvGrpSpPr>
            <a:grpSpLocks/>
          </p:cNvGrpSpPr>
          <p:nvPr/>
        </p:nvGrpSpPr>
        <p:grpSpPr bwMode="auto">
          <a:xfrm>
            <a:off x="3756752" y="5376732"/>
            <a:ext cx="4340646" cy="1224136"/>
            <a:chOff x="819589" y="3264455"/>
            <a:chExt cx="3168487" cy="932422"/>
          </a:xfrm>
        </p:grpSpPr>
        <p:sp>
          <p:nvSpPr>
            <p:cNvPr id="13" name="AutoShap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white">
            <a:xfrm>
              <a:off x="819589" y="3264455"/>
              <a:ext cx="3168487" cy="932422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00DFF6"/>
                  </a:gs>
                  <a:gs pos="100000">
                    <a:srgbClr val="002774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600" dirty="0">
                <a:solidFill>
                  <a:schemeClr val="tx1"/>
                </a:solidFill>
                <a:ea typeface="微软雅黑" pitchFamily="34" charset="-122"/>
              </a:endParaRPr>
            </a:p>
          </p:txBody>
        </p:sp>
        <p:sp>
          <p:nvSpPr>
            <p:cNvPr id="14" name="AutoShape 3"/>
            <p:cNvSpPr>
              <a:spLocks noChangeArrowheads="1"/>
            </p:cNvSpPr>
            <p:nvPr/>
          </p:nvSpPr>
          <p:spPr bwMode="auto">
            <a:xfrm>
              <a:off x="891600" y="3374152"/>
              <a:ext cx="818892" cy="767877"/>
            </a:xfrm>
            <a:prstGeom prst="roundRect">
              <a:avLst/>
            </a:prstGeom>
            <a:gradFill flip="none" rotWithShape="1">
              <a:gsLst>
                <a:gs pos="0">
                  <a:srgbClr val="00DFF6"/>
                </a:gs>
                <a:gs pos="90000">
                  <a:srgbClr val="002774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zh-CN" sz="1600" b="1">
                <a:solidFill>
                  <a:schemeClr val="bg1"/>
                </a:solidFill>
                <a:ea typeface="微软雅黑" pitchFamily="34" charset="-122"/>
              </a:endParaRPr>
            </a:p>
          </p:txBody>
        </p:sp>
        <p:sp>
          <p:nvSpPr>
            <p:cNvPr id="15" name="矩形 23"/>
            <p:cNvSpPr/>
            <p:nvPr/>
          </p:nvSpPr>
          <p:spPr>
            <a:xfrm>
              <a:off x="1683722" y="3374151"/>
              <a:ext cx="2304354" cy="8205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2" algn="ctr" fontAlgn="base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Приобретение родителями новых компетенций  и повышение профессионального уровня специалистов</a:t>
              </a:r>
              <a:endParaRPr lang="en-US" altLang="zh-CN" sz="1600" spc="-20" noProof="1">
                <a:solidFill>
                  <a:srgbClr val="00478E"/>
                </a:solidFill>
              </a:endParaRPr>
            </a:p>
          </p:txBody>
        </p:sp>
      </p:grpSp>
      <p:sp>
        <p:nvSpPr>
          <p:cNvPr id="16" name="Rectangle 17"/>
          <p:cNvSpPr>
            <a:spLocks noChangeArrowheads="1"/>
          </p:cNvSpPr>
          <p:nvPr/>
        </p:nvSpPr>
        <p:spPr bwMode="gray">
          <a:xfrm>
            <a:off x="8211220" y="2846233"/>
            <a:ext cx="641802" cy="1857388"/>
          </a:xfrm>
          <a:prstGeom prst="rightArrow">
            <a:avLst>
              <a:gd name="adj1" fmla="val 69120"/>
              <a:gd name="adj2" fmla="val 66332"/>
            </a:avLst>
          </a:prstGeom>
          <a:solidFill>
            <a:schemeClr val="accent5">
              <a:lumMod val="60000"/>
              <a:lumOff val="40000"/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fontAlgn="ctr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7" name="组合 23"/>
          <p:cNvGrpSpPr>
            <a:grpSpLocks/>
          </p:cNvGrpSpPr>
          <p:nvPr/>
        </p:nvGrpSpPr>
        <p:grpSpPr bwMode="auto">
          <a:xfrm>
            <a:off x="3745734" y="3468525"/>
            <a:ext cx="4329629" cy="1224137"/>
            <a:chOff x="4141048" y="2737304"/>
            <a:chExt cx="3168487" cy="932526"/>
          </a:xfrm>
        </p:grpSpPr>
        <p:sp>
          <p:nvSpPr>
            <p:cNvPr id="18" name="AutoShap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white">
            <a:xfrm>
              <a:off x="4141048" y="2737304"/>
              <a:ext cx="3168487" cy="932526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6EFF01"/>
                  </a:gs>
                  <a:gs pos="100000">
                    <a:srgbClr val="0F5000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600" dirty="0">
                <a:solidFill>
                  <a:schemeClr val="tx1"/>
                </a:solidFill>
                <a:ea typeface="微软雅黑" pitchFamily="34" charset="-122"/>
              </a:endParaRPr>
            </a:p>
          </p:txBody>
        </p:sp>
        <p:sp>
          <p:nvSpPr>
            <p:cNvPr id="19" name="AutoShape 3"/>
            <p:cNvSpPr>
              <a:spLocks noChangeArrowheads="1"/>
            </p:cNvSpPr>
            <p:nvPr/>
          </p:nvSpPr>
          <p:spPr bwMode="auto">
            <a:xfrm>
              <a:off x="4213059" y="2847013"/>
              <a:ext cx="818892" cy="767877"/>
            </a:xfrm>
            <a:prstGeom prst="roundRect">
              <a:avLst/>
            </a:prstGeom>
            <a:gradFill flip="none" rotWithShape="1">
              <a:gsLst>
                <a:gs pos="0">
                  <a:srgbClr val="6EFF01"/>
                </a:gs>
                <a:gs pos="90000">
                  <a:srgbClr val="0F5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zh-CN" sz="1600" b="1">
                <a:solidFill>
                  <a:schemeClr val="bg1"/>
                </a:solidFill>
                <a:ea typeface="微软雅黑" pitchFamily="34" charset="-122"/>
              </a:endParaRPr>
            </a:p>
          </p:txBody>
        </p:sp>
        <p:sp>
          <p:nvSpPr>
            <p:cNvPr id="20" name="矩形 29"/>
            <p:cNvSpPr/>
            <p:nvPr/>
          </p:nvSpPr>
          <p:spPr>
            <a:xfrm>
              <a:off x="5044027" y="2847010"/>
              <a:ext cx="2225197" cy="6330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2" algn="ctr" fontAlgn="base"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Расширение спектра социальных услуг через внедрение новых технологий, методов работы</a:t>
              </a:r>
              <a:endParaRPr lang="en-US" altLang="zh-CN" sz="1600" spc="-20" noProof="1">
                <a:solidFill>
                  <a:srgbClr val="00478E"/>
                </a:solidFill>
              </a:endParaRPr>
            </a:p>
          </p:txBody>
        </p:sp>
      </p:grpSp>
      <p:grpSp>
        <p:nvGrpSpPr>
          <p:cNvPr id="21" name="组合 24"/>
          <p:cNvGrpSpPr>
            <a:grpSpLocks/>
          </p:cNvGrpSpPr>
          <p:nvPr/>
        </p:nvGrpSpPr>
        <p:grpSpPr bwMode="auto">
          <a:xfrm>
            <a:off x="3712684" y="1582089"/>
            <a:ext cx="4340646" cy="1202356"/>
            <a:chOff x="2355097" y="2643182"/>
            <a:chExt cx="3168487" cy="915832"/>
          </a:xfrm>
        </p:grpSpPr>
        <p:sp>
          <p:nvSpPr>
            <p:cNvPr id="22" name="AutoShap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white">
            <a:xfrm>
              <a:off x="2355097" y="2643182"/>
              <a:ext cx="3168487" cy="915832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solidFill>
                <a:srgbClr val="206243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600" dirty="0">
                <a:solidFill>
                  <a:schemeClr val="tx1"/>
                </a:solidFill>
                <a:ea typeface="微软雅黑" pitchFamily="34" charset="-122"/>
              </a:endParaRPr>
            </a:p>
          </p:txBody>
        </p:sp>
        <p:sp>
          <p:nvSpPr>
            <p:cNvPr id="23" name="AutoShape 3"/>
            <p:cNvSpPr>
              <a:spLocks noChangeArrowheads="1"/>
            </p:cNvSpPr>
            <p:nvPr/>
          </p:nvSpPr>
          <p:spPr bwMode="auto">
            <a:xfrm>
              <a:off x="2427108" y="2736289"/>
              <a:ext cx="818892" cy="767877"/>
            </a:xfrm>
            <a:prstGeom prst="roundRect">
              <a:avLst/>
            </a:prstGeom>
            <a:solidFill>
              <a:schemeClr val="accent6">
                <a:lumMod val="50000"/>
              </a:schemeClr>
            </a:soli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zh-CN" sz="1600" b="1" dirty="0">
                <a:solidFill>
                  <a:schemeClr val="bg1"/>
                </a:solidFill>
                <a:ea typeface="微软雅黑" pitchFamily="34" charset="-122"/>
              </a:endParaRPr>
            </a:p>
          </p:txBody>
        </p:sp>
        <p:sp>
          <p:nvSpPr>
            <p:cNvPr id="24" name="矩形 34"/>
            <p:cNvSpPr/>
            <p:nvPr/>
          </p:nvSpPr>
          <p:spPr>
            <a:xfrm>
              <a:off x="3291241" y="2681441"/>
              <a:ext cx="2160332" cy="8205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2" algn="ctr" fontAlgn="base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Организация своевременной помощи семьям с детьми-инвалидами, в том числе               в удаленных  районах </a:t>
              </a:r>
              <a:endParaRPr lang="en-US" altLang="zh-CN" sz="1600" spc="-20" noProof="1">
                <a:solidFill>
                  <a:srgbClr val="00478E"/>
                </a:solidFill>
              </a:endParaRPr>
            </a:p>
          </p:txBody>
        </p:sp>
      </p:grpSp>
      <p:sp>
        <p:nvSpPr>
          <p:cNvPr id="25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9008418" y="1805070"/>
            <a:ext cx="2071702" cy="3714776"/>
          </a:xfrm>
          <a:prstGeom prst="roundRect">
            <a:avLst>
              <a:gd name="adj" fmla="val 4784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gradFill>
              <a:gsLst>
                <a:gs pos="0">
                  <a:srgbClr val="00B0F0"/>
                </a:gs>
                <a:gs pos="100000">
                  <a:srgbClr val="00206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矩形 87"/>
          <p:cNvSpPr>
            <a:spLocks noChangeArrowheads="1"/>
          </p:cNvSpPr>
          <p:nvPr/>
        </p:nvSpPr>
        <p:spPr bwMode="auto">
          <a:xfrm>
            <a:off x="9246476" y="2271761"/>
            <a:ext cx="1656184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lnSpc>
                <a:spcPct val="150000"/>
              </a:lnSpc>
              <a:spcBef>
                <a:spcPts val="1000"/>
              </a:spcBef>
              <a:buClr>
                <a:srgbClr val="FF0000"/>
              </a:buClr>
              <a:buSzPct val="70000"/>
            </a:pPr>
            <a:r>
              <a:rPr lang="ru-RU" altLang="zh-CN" sz="1600" spc="-20" noProof="1" smtClean="0">
                <a:solidFill>
                  <a:srgbClr val="00478E"/>
                </a:solidFill>
              </a:rPr>
              <a:t>Улучшение качества жизни семей с детьми-инвалидами, снижение риска социального сиротства</a:t>
            </a:r>
            <a:endParaRPr lang="zh-CN" altLang="en-US" sz="1600" spc="-20" noProof="1" smtClean="0">
              <a:solidFill>
                <a:srgbClr val="00478E"/>
              </a:solidFill>
            </a:endParaRPr>
          </a:p>
        </p:txBody>
      </p:sp>
      <p:sp>
        <p:nvSpPr>
          <p:cNvPr id="27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white">
          <a:xfrm>
            <a:off x="752389" y="1805070"/>
            <a:ext cx="2071702" cy="3714776"/>
          </a:xfrm>
          <a:prstGeom prst="roundRect">
            <a:avLst>
              <a:gd name="adj" fmla="val 4784"/>
            </a:avLst>
          </a:prstGeom>
          <a:gradFill flip="none" rotWithShape="1">
            <a:gsLst>
              <a:gs pos="30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700000" scaled="1"/>
            <a:tileRect/>
          </a:gradFill>
          <a:ln w="38100">
            <a:gradFill>
              <a:gsLst>
                <a:gs pos="0">
                  <a:srgbClr val="00B0F0"/>
                </a:gs>
                <a:gs pos="100000">
                  <a:srgbClr val="002060"/>
                </a:gs>
              </a:gsLst>
              <a:lin ang="5400000" scaled="0"/>
            </a:gradFill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65100" h="1270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600" dirty="0">
              <a:solidFill>
                <a:schemeClr val="tx1"/>
              </a:solidFill>
              <a:ea typeface="微软雅黑" pitchFamily="34" charset="-122"/>
            </a:endParaRPr>
          </a:p>
        </p:txBody>
      </p:sp>
      <p:sp>
        <p:nvSpPr>
          <p:cNvPr id="28" name="矩形 87"/>
          <p:cNvSpPr>
            <a:spLocks noChangeArrowheads="1"/>
          </p:cNvSpPr>
          <p:nvPr/>
        </p:nvSpPr>
        <p:spPr bwMode="auto">
          <a:xfrm>
            <a:off x="929456" y="2272559"/>
            <a:ext cx="1728192" cy="263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lnSpc>
                <a:spcPct val="150000"/>
              </a:lnSpc>
              <a:buClr>
                <a:srgbClr val="FF0000"/>
              </a:buClr>
              <a:buSzPct val="70000"/>
            </a:pPr>
            <a:r>
              <a:rPr lang="ru-RU" altLang="zh-CN" sz="1600" spc="-20" noProof="1" smtClean="0">
                <a:solidFill>
                  <a:srgbClr val="00478E"/>
                </a:solidFill>
              </a:rPr>
              <a:t>Обучение на стажировочной площадке</a:t>
            </a:r>
          </a:p>
          <a:p>
            <a:pPr algn="ctr" fontAlgn="base">
              <a:lnSpc>
                <a:spcPct val="150000"/>
              </a:lnSpc>
              <a:buClr>
                <a:srgbClr val="FF0000"/>
              </a:buClr>
              <a:buSzPct val="70000"/>
            </a:pPr>
            <a:r>
              <a:rPr lang="ru-RU" altLang="zh-CN" sz="1600" spc="-20" noProof="1" smtClean="0">
                <a:solidFill>
                  <a:srgbClr val="00478E"/>
                </a:solidFill>
              </a:rPr>
              <a:t>«Выездной микрореабили-тационный центр»</a:t>
            </a:r>
            <a:endParaRPr lang="zh-CN" altLang="en-US" sz="1600" spc="-20" noProof="1" smtClean="0">
              <a:solidFill>
                <a:srgbClr val="00478E"/>
              </a:solidFill>
            </a:endParaRPr>
          </a:p>
        </p:txBody>
      </p:sp>
      <p:sp>
        <p:nvSpPr>
          <p:cNvPr id="29" name="Rectangle 17"/>
          <p:cNvSpPr>
            <a:spLocks noChangeArrowheads="1"/>
          </p:cNvSpPr>
          <p:nvPr/>
        </p:nvSpPr>
        <p:spPr bwMode="gray">
          <a:xfrm>
            <a:off x="3038925" y="2967419"/>
            <a:ext cx="576064" cy="1857388"/>
          </a:xfrm>
          <a:prstGeom prst="rightArrow">
            <a:avLst>
              <a:gd name="adj1" fmla="val 69120"/>
              <a:gd name="adj2" fmla="val 66332"/>
            </a:avLst>
          </a:prstGeom>
          <a:solidFill>
            <a:schemeClr val="accent5">
              <a:lumMod val="60000"/>
              <a:lumOff val="40000"/>
              <a:alpha val="60000"/>
            </a:schemeClr>
          </a:soli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contourW="19050">
            <a:bevelT w="101600" prst="artDeco"/>
            <a:bevelB w="0" h="0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marL="0" lvl="2"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tabLst>
                <a:tab pos="136525" algn="l"/>
              </a:tabLst>
              <a:defRPr/>
            </a:pPr>
            <a:endParaRPr lang="zh-CN" altLang="en-US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70556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FC96DA1A-4EF2-FB00-401D-D85E39A3C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05478"/>
            <a:ext cx="10515600" cy="931222"/>
          </a:xfrm>
        </p:spPr>
        <p:txBody>
          <a:bodyPr anchor="t">
            <a:normAutofit fontScale="90000"/>
          </a:bodyPr>
          <a:lstStyle/>
          <a:p>
            <a:r>
              <a:rPr lang="ru-RU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Методическое обеспечение стажировочной площадки </a:t>
            </a:r>
            <a:br>
              <a:rPr lang="ru-RU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</a:br>
            <a:r>
              <a:rPr lang="ru-RU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«Выездной </a:t>
            </a:r>
            <a:r>
              <a:rPr lang="ru-RU" dirty="0" err="1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микрореабилитационный</a:t>
            </a:r>
            <a:r>
              <a:rPr lang="ru-RU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 центр»</a:t>
            </a:r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85DD1C21-D89D-2A67-A872-C492E006FC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7417" y="0"/>
            <a:ext cx="164432" cy="6858000"/>
          </a:xfrm>
          <a:prstGeom prst="rect">
            <a:avLst/>
          </a:prstGeom>
        </p:spPr>
      </p:pic>
      <p:sp>
        <p:nvSpPr>
          <p:cNvPr id="30" name="Текст 15">
            <a:extLst>
              <a:ext uri="{FF2B5EF4-FFF2-40B4-BE49-F238E27FC236}">
                <a16:creationId xmlns="" xmlns:a16="http://schemas.microsoft.com/office/drawing/2014/main" id="{06E9C440-D588-0A31-1038-32FB34BFAED5}"/>
              </a:ext>
            </a:extLst>
          </p:cNvPr>
          <p:cNvSpPr txBox="1">
            <a:spLocks/>
          </p:cNvSpPr>
          <p:nvPr/>
        </p:nvSpPr>
        <p:spPr>
          <a:xfrm>
            <a:off x="836611" y="5989605"/>
            <a:ext cx="469675" cy="3568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smtClean="0">
                <a:solidFill>
                  <a:srgbClr val="002060"/>
                </a:solidFill>
              </a:rPr>
              <a:t>04</a:t>
            </a:r>
            <a:endParaRPr lang="ru-RU" sz="2000" dirty="0">
              <a:solidFill>
                <a:srgbClr val="002060"/>
              </a:solidFill>
            </a:endParaRPr>
          </a:p>
        </p:txBody>
      </p:sp>
      <p:grpSp>
        <p:nvGrpSpPr>
          <p:cNvPr id="31" name="Gruppieren 46"/>
          <p:cNvGrpSpPr/>
          <p:nvPr/>
        </p:nvGrpSpPr>
        <p:grpSpPr bwMode="gray">
          <a:xfrm>
            <a:off x="1937100" y="4973422"/>
            <a:ext cx="3096344" cy="997794"/>
            <a:chOff x="3971925" y="4437112"/>
            <a:chExt cx="2734789" cy="997794"/>
          </a:xfrm>
        </p:grpSpPr>
        <p:cxnSp>
          <p:nvCxnSpPr>
            <p:cNvPr id="32" name="Gerade Verbindung 47"/>
            <p:cNvCxnSpPr/>
            <p:nvPr/>
          </p:nvCxnSpPr>
          <p:spPr bwMode="gray">
            <a:xfrm>
              <a:off x="3971925" y="4437113"/>
              <a:ext cx="2734789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33" name="Text Box 13"/>
            <p:cNvSpPr txBox="1">
              <a:spLocks noChangeArrowheads="1"/>
            </p:cNvSpPr>
            <p:nvPr/>
          </p:nvSpPr>
          <p:spPr bwMode="gray">
            <a:xfrm>
              <a:off x="3971925" y="4437112"/>
              <a:ext cx="2318723" cy="99779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defTabSz="801688">
                <a:lnSpc>
                  <a:spcPct val="95000"/>
                </a:lnSpc>
                <a:spcAft>
                  <a:spcPts val="800"/>
                </a:spcAft>
                <a:buFont typeface="Arial" pitchFamily="34" charset="0"/>
                <a:buChar char="•"/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лекции</a:t>
              </a:r>
            </a:p>
            <a:p>
              <a:pPr defTabSz="801688">
                <a:lnSpc>
                  <a:spcPct val="95000"/>
                </a:lnSpc>
                <a:spcAft>
                  <a:spcPts val="800"/>
                </a:spcAft>
                <a:buFont typeface="Arial" pitchFamily="34" charset="0"/>
                <a:buChar char="•"/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мастер-классы</a:t>
              </a:r>
            </a:p>
            <a:p>
              <a:pPr defTabSz="801688">
                <a:lnSpc>
                  <a:spcPct val="95000"/>
                </a:lnSpc>
                <a:spcAft>
                  <a:spcPts val="800"/>
                </a:spcAft>
                <a:buFont typeface="Arial" pitchFamily="34" charset="0"/>
                <a:buChar char="•"/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дискуссионные площадки</a:t>
              </a:r>
              <a:endParaRPr lang="en-US" altLang="zh-CN" sz="1600" spc="-20" noProof="1" smtClean="0">
                <a:solidFill>
                  <a:srgbClr val="00478E"/>
                </a:solidFill>
              </a:endParaRPr>
            </a:p>
          </p:txBody>
        </p:sp>
      </p:grpSp>
      <p:grpSp>
        <p:nvGrpSpPr>
          <p:cNvPr id="34" name="Gruppieren 29"/>
          <p:cNvGrpSpPr/>
          <p:nvPr/>
        </p:nvGrpSpPr>
        <p:grpSpPr bwMode="gray">
          <a:xfrm>
            <a:off x="4236274" y="1729775"/>
            <a:ext cx="4042618" cy="3888445"/>
            <a:chOff x="2739186" y="1916114"/>
            <a:chExt cx="3665629" cy="3525836"/>
          </a:xfrm>
        </p:grpSpPr>
        <p:grpSp>
          <p:nvGrpSpPr>
            <p:cNvPr id="35" name="Gruppieren 22"/>
            <p:cNvGrpSpPr/>
            <p:nvPr/>
          </p:nvGrpSpPr>
          <p:grpSpPr bwMode="gray">
            <a:xfrm>
              <a:off x="2739186" y="1916114"/>
              <a:ext cx="3665629" cy="3525836"/>
              <a:chOff x="2640159" y="1847186"/>
              <a:chExt cx="3856122" cy="3709064"/>
            </a:xfrm>
            <a:solidFill>
              <a:srgbClr val="E6E6E6"/>
            </a:solidFill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1" name="Freeform 6"/>
              <p:cNvSpPr>
                <a:spLocks/>
              </p:cNvSpPr>
              <p:nvPr/>
            </p:nvSpPr>
            <p:spPr bwMode="gray">
              <a:xfrm>
                <a:off x="3642797" y="1847186"/>
                <a:ext cx="1850846" cy="1946299"/>
              </a:xfrm>
              <a:custGeom>
                <a:avLst/>
                <a:gdLst/>
                <a:ahLst/>
                <a:cxnLst>
                  <a:cxn ang="0">
                    <a:pos x="794" y="1672"/>
                  </a:cxn>
                  <a:cxn ang="0">
                    <a:pos x="1590" y="576"/>
                  </a:cxn>
                  <a:cxn ang="0">
                    <a:pos x="794" y="0"/>
                  </a:cxn>
                  <a:cxn ang="0">
                    <a:pos x="0" y="576"/>
                  </a:cxn>
                  <a:cxn ang="0">
                    <a:pos x="794" y="1672"/>
                  </a:cxn>
                  <a:cxn ang="0">
                    <a:pos x="794" y="1672"/>
                  </a:cxn>
                </a:cxnLst>
                <a:rect l="0" t="0" r="r" b="b"/>
                <a:pathLst>
                  <a:path w="1590" h="1672">
                    <a:moveTo>
                      <a:pt x="794" y="1672"/>
                    </a:moveTo>
                    <a:lnTo>
                      <a:pt x="1590" y="576"/>
                    </a:lnTo>
                    <a:lnTo>
                      <a:pt x="794" y="0"/>
                    </a:lnTo>
                    <a:lnTo>
                      <a:pt x="0" y="576"/>
                    </a:lnTo>
                    <a:lnTo>
                      <a:pt x="794" y="1672"/>
                    </a:lnTo>
                    <a:lnTo>
                      <a:pt x="794" y="1672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endParaRPr lang="de-DE" sz="16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7"/>
              <p:cNvSpPr>
                <a:spLocks/>
              </p:cNvSpPr>
              <p:nvPr/>
            </p:nvSpPr>
            <p:spPr bwMode="gray">
              <a:xfrm>
                <a:off x="4617756" y="3983612"/>
                <a:ext cx="1498138" cy="15726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351"/>
                  </a:cxn>
                  <a:cxn ang="0">
                    <a:pos x="985" y="1351"/>
                  </a:cxn>
                  <a:cxn ang="0">
                    <a:pos x="1287" y="418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1287" h="1351">
                    <a:moveTo>
                      <a:pt x="0" y="0"/>
                    </a:moveTo>
                    <a:lnTo>
                      <a:pt x="0" y="1351"/>
                    </a:lnTo>
                    <a:lnTo>
                      <a:pt x="985" y="1351"/>
                    </a:lnTo>
                    <a:lnTo>
                      <a:pt x="1287" y="41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endParaRPr lang="de-DE" sz="16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_color1"/>
              <p:cNvSpPr>
                <a:spLocks/>
              </p:cNvSpPr>
              <p:nvPr/>
            </p:nvSpPr>
            <p:spPr bwMode="gray">
              <a:xfrm>
                <a:off x="4643107" y="2593732"/>
                <a:ext cx="1853174" cy="1762379"/>
              </a:xfrm>
              <a:custGeom>
                <a:avLst/>
                <a:gdLst/>
                <a:ahLst/>
                <a:cxnLst>
                  <a:cxn ang="0">
                    <a:pos x="796" y="0"/>
                  </a:cxn>
                  <a:cxn ang="0">
                    <a:pos x="0" y="1096"/>
                  </a:cxn>
                  <a:cxn ang="0">
                    <a:pos x="0" y="1096"/>
                  </a:cxn>
                  <a:cxn ang="0">
                    <a:pos x="1287" y="1514"/>
                  </a:cxn>
                  <a:cxn ang="0">
                    <a:pos x="1592" y="579"/>
                  </a:cxn>
                  <a:cxn ang="0">
                    <a:pos x="796" y="0"/>
                  </a:cxn>
                </a:cxnLst>
                <a:rect l="0" t="0" r="r" b="b"/>
                <a:pathLst>
                  <a:path w="1592" h="1514">
                    <a:moveTo>
                      <a:pt x="796" y="0"/>
                    </a:moveTo>
                    <a:lnTo>
                      <a:pt x="0" y="1096"/>
                    </a:lnTo>
                    <a:lnTo>
                      <a:pt x="0" y="1096"/>
                    </a:lnTo>
                    <a:lnTo>
                      <a:pt x="1287" y="1514"/>
                    </a:lnTo>
                    <a:lnTo>
                      <a:pt x="1592" y="579"/>
                    </a:lnTo>
                    <a:lnTo>
                      <a:pt x="796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1"/>
                <a:tileRect/>
              </a:gradFill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wrap="square" lIns="0" tIns="10800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endParaRPr lang="de-DE" sz="1600" b="1" noProof="1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Freeform 9"/>
              <p:cNvSpPr>
                <a:spLocks/>
              </p:cNvSpPr>
              <p:nvPr/>
            </p:nvSpPr>
            <p:spPr bwMode="gray">
              <a:xfrm>
                <a:off x="2640159" y="2593732"/>
                <a:ext cx="1850846" cy="1762379"/>
              </a:xfrm>
              <a:custGeom>
                <a:avLst/>
                <a:gdLst/>
                <a:ahLst/>
                <a:cxnLst>
                  <a:cxn ang="0">
                    <a:pos x="796" y="0"/>
                  </a:cxn>
                  <a:cxn ang="0">
                    <a:pos x="0" y="579"/>
                  </a:cxn>
                  <a:cxn ang="0">
                    <a:pos x="305" y="1514"/>
                  </a:cxn>
                  <a:cxn ang="0">
                    <a:pos x="1590" y="1096"/>
                  </a:cxn>
                  <a:cxn ang="0">
                    <a:pos x="796" y="0"/>
                  </a:cxn>
                </a:cxnLst>
                <a:rect l="0" t="0" r="r" b="b"/>
                <a:pathLst>
                  <a:path w="1590" h="1514">
                    <a:moveTo>
                      <a:pt x="796" y="0"/>
                    </a:moveTo>
                    <a:lnTo>
                      <a:pt x="0" y="579"/>
                    </a:lnTo>
                    <a:lnTo>
                      <a:pt x="305" y="1514"/>
                    </a:lnTo>
                    <a:lnTo>
                      <a:pt x="1590" y="1096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endParaRPr lang="de-DE" sz="1600" noProof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Freeform 10"/>
              <p:cNvSpPr>
                <a:spLocks/>
              </p:cNvSpPr>
              <p:nvPr/>
            </p:nvSpPr>
            <p:spPr bwMode="gray">
              <a:xfrm>
                <a:off x="3020545" y="3983612"/>
                <a:ext cx="1495809" cy="1572638"/>
              </a:xfrm>
              <a:custGeom>
                <a:avLst/>
                <a:gdLst/>
                <a:ahLst/>
                <a:cxnLst>
                  <a:cxn ang="0">
                    <a:pos x="1285" y="0"/>
                  </a:cxn>
                  <a:cxn ang="0">
                    <a:pos x="0" y="418"/>
                  </a:cxn>
                  <a:cxn ang="0">
                    <a:pos x="302" y="1351"/>
                  </a:cxn>
                  <a:cxn ang="0">
                    <a:pos x="1285" y="1351"/>
                  </a:cxn>
                  <a:cxn ang="0">
                    <a:pos x="1285" y="0"/>
                  </a:cxn>
                  <a:cxn ang="0">
                    <a:pos x="1285" y="0"/>
                  </a:cxn>
                </a:cxnLst>
                <a:rect l="0" t="0" r="r" b="b"/>
                <a:pathLst>
                  <a:path w="1285" h="1351">
                    <a:moveTo>
                      <a:pt x="1285" y="0"/>
                    </a:moveTo>
                    <a:lnTo>
                      <a:pt x="0" y="418"/>
                    </a:lnTo>
                    <a:lnTo>
                      <a:pt x="302" y="1351"/>
                    </a:lnTo>
                    <a:lnTo>
                      <a:pt x="1285" y="1351"/>
                    </a:lnTo>
                    <a:lnTo>
                      <a:pt x="1285" y="0"/>
                    </a:lnTo>
                    <a:lnTo>
                      <a:pt x="1285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wrap="square" lIns="0" tIns="0" rIns="0" bIns="0" anchor="ctr" anchorCtr="0"/>
              <a:lstStyle/>
              <a:p>
                <a:pPr algn="ctr">
                  <a:lnSpc>
                    <a:spcPct val="95000"/>
                  </a:lnSpc>
                  <a:spcAft>
                    <a:spcPts val="800"/>
                  </a:spcAft>
                </a:pPr>
                <a:endParaRPr lang="de-DE" sz="1600" noProof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6" name="Rechteck 23"/>
            <p:cNvSpPr/>
            <p:nvPr/>
          </p:nvSpPr>
          <p:spPr bwMode="gray">
            <a:xfrm>
              <a:off x="3942709" y="2368042"/>
              <a:ext cx="1394795" cy="600943"/>
            </a:xfrm>
            <a:prstGeom prst="rect">
              <a:avLst/>
            </a:prstGeom>
          </p:spPr>
          <p:txBody>
            <a:bodyPr wrap="none" anchor="ctr" anchorCtr="0">
              <a:spAutoFit/>
            </a:bodyPr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ru-RU" sz="1600" b="1" dirty="0" smtClean="0">
                  <a:solidFill>
                    <a:srgbClr val="00478E"/>
                  </a:solidFill>
                </a:rPr>
                <a:t>Методические </a:t>
              </a:r>
            </a:p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ru-RU" sz="1600" b="1" dirty="0" smtClean="0">
                  <a:solidFill>
                    <a:srgbClr val="00478E"/>
                  </a:solidFill>
                </a:rPr>
                <a:t>кейсы</a:t>
              </a:r>
              <a:endParaRPr lang="de-DE" sz="1600" b="1" dirty="0" smtClean="0">
                <a:solidFill>
                  <a:srgbClr val="00478E"/>
                </a:solidFill>
              </a:endParaRPr>
            </a:p>
          </p:txBody>
        </p:sp>
        <p:sp>
          <p:nvSpPr>
            <p:cNvPr id="37" name="Rechteck 24"/>
            <p:cNvSpPr/>
            <p:nvPr/>
          </p:nvSpPr>
          <p:spPr bwMode="gray">
            <a:xfrm>
              <a:off x="5015322" y="3281128"/>
              <a:ext cx="1177640" cy="600943"/>
            </a:xfrm>
            <a:prstGeom prst="rect">
              <a:avLst/>
            </a:prstGeom>
          </p:spPr>
          <p:txBody>
            <a:bodyPr wrap="none" anchor="ctr" anchorCtr="0">
              <a:spAutoFit/>
            </a:bodyPr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ru-RU" sz="1600" b="1" dirty="0" smtClean="0">
                  <a:solidFill>
                    <a:srgbClr val="FFFFFF"/>
                  </a:solidFill>
                </a:rPr>
                <a:t>Алгоритм</a:t>
              </a:r>
            </a:p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ru-RU" sz="1600" b="1" dirty="0" smtClean="0">
                  <a:solidFill>
                    <a:srgbClr val="FFFFFF"/>
                  </a:solidFill>
                </a:rPr>
                <a:t> реализации</a:t>
              </a:r>
              <a:endParaRPr lang="de-DE" sz="16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8" name="Rechteck 25"/>
            <p:cNvSpPr/>
            <p:nvPr/>
          </p:nvSpPr>
          <p:spPr bwMode="gray">
            <a:xfrm>
              <a:off x="3102064" y="3128567"/>
              <a:ext cx="877168" cy="906065"/>
            </a:xfrm>
            <a:prstGeom prst="rect">
              <a:avLst/>
            </a:prstGeom>
          </p:spPr>
          <p:txBody>
            <a:bodyPr wrap="none" anchor="ctr" anchorCtr="0">
              <a:spAutoFit/>
            </a:bodyPr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ru-RU" sz="1600" b="1" dirty="0" smtClean="0">
                  <a:solidFill>
                    <a:srgbClr val="00478E"/>
                  </a:solidFill>
                </a:rPr>
                <a:t>Система </a:t>
              </a:r>
            </a:p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ru-RU" sz="1600" b="1" dirty="0" smtClean="0">
                  <a:solidFill>
                    <a:srgbClr val="00478E"/>
                  </a:solidFill>
                </a:rPr>
                <a:t>помощи</a:t>
              </a:r>
            </a:p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ru-RU" sz="1600" b="1" dirty="0" smtClean="0">
                  <a:solidFill>
                    <a:srgbClr val="00478E"/>
                  </a:solidFill>
                </a:rPr>
                <a:t>семьям</a:t>
              </a:r>
              <a:endParaRPr lang="de-DE" sz="1600" b="1" dirty="0" smtClean="0">
                <a:solidFill>
                  <a:srgbClr val="00478E"/>
                </a:solidFill>
              </a:endParaRPr>
            </a:p>
          </p:txBody>
        </p:sp>
        <p:sp>
          <p:nvSpPr>
            <p:cNvPr id="39" name="Rechteck 26"/>
            <p:cNvSpPr/>
            <p:nvPr/>
          </p:nvSpPr>
          <p:spPr bwMode="gray">
            <a:xfrm>
              <a:off x="4707461" y="4290933"/>
              <a:ext cx="1139209" cy="906065"/>
            </a:xfrm>
            <a:prstGeom prst="rect">
              <a:avLst/>
            </a:prstGeom>
          </p:spPr>
          <p:txBody>
            <a:bodyPr wrap="none" anchor="ctr" anchorCtr="0">
              <a:spAutoFit/>
            </a:bodyPr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ru-RU" sz="1600" b="1" dirty="0" smtClean="0">
                  <a:solidFill>
                    <a:schemeClr val="bg1"/>
                  </a:solidFill>
                </a:rPr>
                <a:t>Формуляры</a:t>
              </a:r>
            </a:p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ru-RU" sz="1600" b="1" dirty="0" smtClean="0">
                  <a:solidFill>
                    <a:schemeClr val="bg1"/>
                  </a:solidFill>
                </a:rPr>
                <a:t>программ </a:t>
              </a:r>
            </a:p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ru-RU" sz="1600" b="1" dirty="0" smtClean="0">
                  <a:solidFill>
                    <a:schemeClr val="bg1"/>
                  </a:solidFill>
                </a:rPr>
                <a:t>и методов</a:t>
              </a:r>
            </a:p>
          </p:txBody>
        </p:sp>
        <p:sp>
          <p:nvSpPr>
            <p:cNvPr id="40" name="Rechteck 27"/>
            <p:cNvSpPr/>
            <p:nvPr/>
          </p:nvSpPr>
          <p:spPr bwMode="gray">
            <a:xfrm>
              <a:off x="3405738" y="4443495"/>
              <a:ext cx="902808" cy="600943"/>
            </a:xfrm>
            <a:prstGeom prst="rect">
              <a:avLst/>
            </a:prstGeom>
          </p:spPr>
          <p:txBody>
            <a:bodyPr wrap="none" anchor="ctr" anchorCtr="0">
              <a:spAutoFit/>
            </a:bodyPr>
            <a:lstStyle/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ru-RU" sz="1600" b="1" dirty="0" smtClean="0">
                  <a:solidFill>
                    <a:schemeClr val="bg1"/>
                  </a:solidFill>
                </a:rPr>
                <a:t>Живое </a:t>
              </a:r>
            </a:p>
            <a:p>
              <a:pPr algn="ctr">
                <a:lnSpc>
                  <a:spcPct val="95000"/>
                </a:lnSpc>
                <a:spcAft>
                  <a:spcPts val="800"/>
                </a:spcAft>
              </a:pPr>
              <a:r>
                <a:rPr lang="ru-RU" sz="1600" b="1" dirty="0" smtClean="0">
                  <a:solidFill>
                    <a:schemeClr val="bg1"/>
                  </a:solidFill>
                </a:rPr>
                <a:t>общение</a:t>
              </a:r>
              <a:endParaRPr lang="de-DE" sz="1600" b="1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46" name="Gruppieren 30"/>
          <p:cNvGrpSpPr/>
          <p:nvPr/>
        </p:nvGrpSpPr>
        <p:grpSpPr bwMode="gray">
          <a:xfrm>
            <a:off x="8201796" y="2813183"/>
            <a:ext cx="2641465" cy="1271446"/>
            <a:chOff x="6790368" y="2851845"/>
            <a:chExt cx="2532305" cy="1271446"/>
          </a:xfrm>
        </p:grpSpPr>
        <p:cxnSp>
          <p:nvCxnSpPr>
            <p:cNvPr id="47" name="Gerade Verbindung 31"/>
            <p:cNvCxnSpPr/>
            <p:nvPr/>
          </p:nvCxnSpPr>
          <p:spPr bwMode="gray">
            <a:xfrm>
              <a:off x="6790368" y="2851845"/>
              <a:ext cx="2416128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48" name="Text Box 13"/>
            <p:cNvSpPr txBox="1">
              <a:spLocks noChangeArrowheads="1"/>
            </p:cNvSpPr>
            <p:nvPr/>
          </p:nvSpPr>
          <p:spPr bwMode="gray">
            <a:xfrm>
              <a:off x="7010580" y="2862861"/>
              <a:ext cx="2312093" cy="126043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defTabSz="801688" eaLnBrk="0" hangingPunct="0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Ключевые аспекты организации работы Выездного микрореабилитационного центра</a:t>
              </a:r>
              <a:endParaRPr lang="de-DE" altLang="zh-CN" sz="1600" spc="-20" noProof="1" smtClean="0">
                <a:solidFill>
                  <a:srgbClr val="00478E"/>
                </a:solidFill>
              </a:endParaRPr>
            </a:p>
          </p:txBody>
        </p:sp>
      </p:grpSp>
      <p:grpSp>
        <p:nvGrpSpPr>
          <p:cNvPr id="49" name="Gruppieren 33"/>
          <p:cNvGrpSpPr/>
          <p:nvPr/>
        </p:nvGrpSpPr>
        <p:grpSpPr bwMode="gray">
          <a:xfrm>
            <a:off x="2009107" y="3605270"/>
            <a:ext cx="2304255" cy="792609"/>
            <a:chOff x="3971925" y="4437112"/>
            <a:chExt cx="2638932" cy="792609"/>
          </a:xfrm>
        </p:grpSpPr>
        <p:cxnSp>
          <p:nvCxnSpPr>
            <p:cNvPr id="50" name="Gerade Verbindung 34"/>
            <p:cNvCxnSpPr/>
            <p:nvPr/>
          </p:nvCxnSpPr>
          <p:spPr bwMode="gray">
            <a:xfrm>
              <a:off x="3971925" y="4437113"/>
              <a:ext cx="2318724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51" name="Text Box 13"/>
            <p:cNvSpPr txBox="1">
              <a:spLocks noChangeArrowheads="1"/>
            </p:cNvSpPr>
            <p:nvPr/>
          </p:nvSpPr>
          <p:spPr bwMode="gray">
            <a:xfrm>
              <a:off x="3971927" y="4437112"/>
              <a:ext cx="2638930" cy="79260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defTabSz="801688" fontAlgn="ctr">
                <a:lnSpc>
                  <a:spcPct val="95000"/>
                </a:lnSpc>
                <a:buClr>
                  <a:srgbClr val="FF0000"/>
                </a:buClr>
                <a:buSzPct val="70000"/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Модели работы специалистов в рамках технологии </a:t>
              </a:r>
              <a:endParaRPr lang="de-DE" altLang="zh-CN" sz="1600" spc="-20" noProof="1" smtClean="0">
                <a:solidFill>
                  <a:srgbClr val="00478E"/>
                </a:solidFill>
              </a:endParaRPr>
            </a:p>
          </p:txBody>
        </p:sp>
      </p:grpSp>
      <p:grpSp>
        <p:nvGrpSpPr>
          <p:cNvPr id="52" name="Gruppieren 36"/>
          <p:cNvGrpSpPr/>
          <p:nvPr/>
        </p:nvGrpSpPr>
        <p:grpSpPr bwMode="gray">
          <a:xfrm>
            <a:off x="1937100" y="1733061"/>
            <a:ext cx="4104456" cy="1568206"/>
            <a:chOff x="3971925" y="4325367"/>
            <a:chExt cx="3514446" cy="1319897"/>
          </a:xfrm>
        </p:grpSpPr>
        <p:cxnSp>
          <p:nvCxnSpPr>
            <p:cNvPr id="53" name="Gerade Verbindung 37"/>
            <p:cNvCxnSpPr/>
            <p:nvPr/>
          </p:nvCxnSpPr>
          <p:spPr bwMode="gray">
            <a:xfrm>
              <a:off x="3971925" y="4362613"/>
              <a:ext cx="3514446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54" name="Text Box 13"/>
            <p:cNvSpPr txBox="1">
              <a:spLocks noChangeArrowheads="1"/>
            </p:cNvSpPr>
            <p:nvPr/>
          </p:nvSpPr>
          <p:spPr bwMode="gray">
            <a:xfrm>
              <a:off x="3971925" y="4325367"/>
              <a:ext cx="2466278" cy="13198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defTabSz="801688" eaLnBrk="0" hangingPunct="0">
                <a:lnSpc>
                  <a:spcPct val="95000"/>
                </a:lnSpc>
                <a:spcAft>
                  <a:spcPts val="800"/>
                </a:spcAft>
                <a:buFont typeface="Arial" pitchFamily="34" charset="0"/>
                <a:buChar char="•"/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документация специалистов</a:t>
              </a:r>
            </a:p>
            <a:p>
              <a:pPr defTabSz="801688" eaLnBrk="0" hangingPunct="0">
                <a:lnSpc>
                  <a:spcPct val="95000"/>
                </a:lnSpc>
                <a:spcAft>
                  <a:spcPts val="800"/>
                </a:spcAft>
                <a:buFont typeface="Arial" pitchFamily="34" charset="0"/>
                <a:buChar char="•"/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диагностические методики</a:t>
              </a:r>
            </a:p>
            <a:p>
              <a:pPr defTabSz="801688" eaLnBrk="0" hangingPunct="0">
                <a:lnSpc>
                  <a:spcPct val="95000"/>
                </a:lnSpc>
                <a:spcAft>
                  <a:spcPts val="800"/>
                </a:spcAft>
                <a:buFont typeface="Arial" pitchFamily="34" charset="0"/>
                <a:buChar char="•"/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консультации для родителей</a:t>
              </a:r>
            </a:p>
            <a:p>
              <a:pPr defTabSz="801688">
                <a:lnSpc>
                  <a:spcPct val="95000"/>
                </a:lnSpc>
                <a:spcAft>
                  <a:spcPts val="800"/>
                </a:spcAft>
                <a:buFont typeface="Arial" pitchFamily="34" charset="0"/>
                <a:buChar char="•"/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методические материалы         для специалистов</a:t>
              </a:r>
            </a:p>
          </p:txBody>
        </p:sp>
      </p:grpSp>
      <p:grpSp>
        <p:nvGrpSpPr>
          <p:cNvPr id="55" name="Gruppieren 39"/>
          <p:cNvGrpSpPr/>
          <p:nvPr/>
        </p:nvGrpSpPr>
        <p:grpSpPr bwMode="gray">
          <a:xfrm>
            <a:off x="8118641" y="4673173"/>
            <a:ext cx="2387881" cy="558699"/>
            <a:chOff x="6408864" y="2851844"/>
            <a:chExt cx="2797632" cy="558699"/>
          </a:xfrm>
        </p:grpSpPr>
        <p:cxnSp>
          <p:nvCxnSpPr>
            <p:cNvPr id="56" name="Gerade Verbindung 40"/>
            <p:cNvCxnSpPr/>
            <p:nvPr/>
          </p:nvCxnSpPr>
          <p:spPr bwMode="gray">
            <a:xfrm>
              <a:off x="6408864" y="2851845"/>
              <a:ext cx="2797632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57" name="Text Box 13"/>
            <p:cNvSpPr txBox="1">
              <a:spLocks noChangeArrowheads="1"/>
            </p:cNvSpPr>
            <p:nvPr/>
          </p:nvSpPr>
          <p:spPr bwMode="gray">
            <a:xfrm>
              <a:off x="6506288" y="2851844"/>
              <a:ext cx="2700207" cy="5586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defTabSz="801688" eaLnBrk="0" hangingPunct="0">
                <a:lnSpc>
                  <a:spcPct val="95000"/>
                </a:lnSpc>
                <a:spcAft>
                  <a:spcPts val="800"/>
                </a:spcAft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Основные рабочие инструменты</a:t>
              </a:r>
              <a:r>
                <a:rPr lang="en-US" altLang="zh-CN" sz="1600" spc="-20" noProof="1" smtClean="0">
                  <a:solidFill>
                    <a:srgbClr val="00478E"/>
                  </a:solidFill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670556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FC96DA1A-4EF2-FB00-401D-D85E39A3C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05478"/>
            <a:ext cx="10515600" cy="931222"/>
          </a:xfrm>
        </p:spPr>
        <p:txBody>
          <a:bodyPr anchor="t">
            <a:normAutofit fontScale="90000"/>
          </a:bodyPr>
          <a:lstStyle/>
          <a:p>
            <a:r>
              <a:rPr lang="ru-RU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Форматы работы стажировочной площадки </a:t>
            </a:r>
            <a:br>
              <a:rPr lang="ru-RU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</a:br>
            <a:r>
              <a:rPr lang="ru-RU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«Выездной </a:t>
            </a:r>
            <a:r>
              <a:rPr lang="ru-RU" dirty="0" err="1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микрореабилитационный</a:t>
            </a:r>
            <a:r>
              <a:rPr lang="ru-RU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 центр»</a:t>
            </a:r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85DD1C21-D89D-2A67-A872-C492E006FC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7417" y="0"/>
            <a:ext cx="164432" cy="6858000"/>
          </a:xfrm>
          <a:prstGeom prst="rect">
            <a:avLst/>
          </a:prstGeom>
        </p:spPr>
      </p:pic>
      <p:sp>
        <p:nvSpPr>
          <p:cNvPr id="35" name="Текст 15">
            <a:extLst>
              <a:ext uri="{FF2B5EF4-FFF2-40B4-BE49-F238E27FC236}">
                <a16:creationId xmlns="" xmlns:a16="http://schemas.microsoft.com/office/drawing/2014/main" id="{06E9C440-D588-0A31-1038-32FB34BFAED5}"/>
              </a:ext>
            </a:extLst>
          </p:cNvPr>
          <p:cNvSpPr txBox="1">
            <a:spLocks/>
          </p:cNvSpPr>
          <p:nvPr/>
        </p:nvSpPr>
        <p:spPr>
          <a:xfrm>
            <a:off x="836611" y="5989605"/>
            <a:ext cx="469675" cy="3568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smtClean="0">
                <a:solidFill>
                  <a:srgbClr val="002060"/>
                </a:solidFill>
              </a:rPr>
              <a:t>06</a:t>
            </a:r>
            <a:endParaRPr lang="ru-RU" sz="2000" dirty="0">
              <a:solidFill>
                <a:srgbClr val="002060"/>
              </a:solidFill>
            </a:endParaRPr>
          </a:p>
        </p:txBody>
      </p:sp>
      <p:grpSp>
        <p:nvGrpSpPr>
          <p:cNvPr id="60" name="Group 185"/>
          <p:cNvGrpSpPr>
            <a:grpSpLocks/>
          </p:cNvGrpSpPr>
          <p:nvPr/>
        </p:nvGrpSpPr>
        <p:grpSpPr bwMode="auto">
          <a:xfrm>
            <a:off x="1705748" y="1537332"/>
            <a:ext cx="8496944" cy="4970906"/>
            <a:chOff x="722" y="1299"/>
            <a:chExt cx="4335" cy="1656"/>
          </a:xfrm>
        </p:grpSpPr>
        <p:grpSp>
          <p:nvGrpSpPr>
            <p:cNvPr id="61" name="Group 183"/>
            <p:cNvGrpSpPr>
              <a:grpSpLocks/>
            </p:cNvGrpSpPr>
            <p:nvPr/>
          </p:nvGrpSpPr>
          <p:grpSpPr bwMode="auto">
            <a:xfrm>
              <a:off x="2327" y="1793"/>
              <a:ext cx="1184" cy="1162"/>
              <a:chOff x="2327" y="1793"/>
              <a:chExt cx="1184" cy="1162"/>
            </a:xfrm>
          </p:grpSpPr>
          <p:sp>
            <p:nvSpPr>
              <p:cNvPr id="86" name="Freeform 13"/>
              <p:cNvSpPr>
                <a:spLocks/>
              </p:cNvSpPr>
              <p:nvPr/>
            </p:nvSpPr>
            <p:spPr bwMode="auto">
              <a:xfrm>
                <a:off x="2327" y="1979"/>
                <a:ext cx="1184" cy="680"/>
              </a:xfrm>
              <a:custGeom>
                <a:avLst/>
                <a:gdLst>
                  <a:gd name="T0" fmla="*/ 0 w 108"/>
                  <a:gd name="T1" fmla="*/ 0 h 62"/>
                  <a:gd name="T2" fmla="*/ 108 w 108"/>
                  <a:gd name="T3" fmla="*/ 0 h 62"/>
                  <a:gd name="T4" fmla="*/ 95 w 108"/>
                  <a:gd name="T5" fmla="*/ 46 h 62"/>
                  <a:gd name="T6" fmla="*/ 54 w 108"/>
                  <a:gd name="T7" fmla="*/ 62 h 62"/>
                  <a:gd name="T8" fmla="*/ 12 w 108"/>
                  <a:gd name="T9" fmla="*/ 45 h 62"/>
                  <a:gd name="T10" fmla="*/ 0 w 108"/>
                  <a:gd name="T11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8" h="62">
                    <a:moveTo>
                      <a:pt x="0" y="0"/>
                    </a:moveTo>
                    <a:lnTo>
                      <a:pt x="108" y="0"/>
                    </a:lnTo>
                    <a:lnTo>
                      <a:pt x="95" y="46"/>
                    </a:lnTo>
                    <a:cubicBezTo>
                      <a:pt x="93" y="59"/>
                      <a:pt x="62" y="62"/>
                      <a:pt x="54" y="62"/>
                    </a:cubicBezTo>
                    <a:cubicBezTo>
                      <a:pt x="45" y="62"/>
                      <a:pt x="14" y="59"/>
                      <a:pt x="12" y="45"/>
                    </a:cubicBezTo>
                    <a:lnTo>
                      <a:pt x="0" y="0"/>
                    </a:lnTo>
                  </a:path>
                </a:pathLst>
              </a:custGeom>
              <a:gradFill rotWithShape="0">
                <a:gsLst>
                  <a:gs pos="0">
                    <a:srgbClr val="EBEBEB"/>
                  </a:gs>
                  <a:gs pos="100000">
                    <a:srgbClr val="414141"/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0" cap="flat" cmpd="sng">
                    <a:solidFill>
                      <a:srgbClr val="25221E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7" name="Oval 14"/>
              <p:cNvSpPr>
                <a:spLocks noChangeArrowheads="1"/>
              </p:cNvSpPr>
              <p:nvPr/>
            </p:nvSpPr>
            <p:spPr bwMode="auto">
              <a:xfrm>
                <a:off x="2327" y="1793"/>
                <a:ext cx="1184" cy="351"/>
              </a:xfrm>
              <a:prstGeom prst="ellipse">
                <a:avLst/>
              </a:prstGeom>
              <a:gradFill rotWithShape="0">
                <a:gsLst>
                  <a:gs pos="0">
                    <a:srgbClr val="E1E1E1"/>
                  </a:gs>
                  <a:gs pos="100000">
                    <a:srgbClr val="A6A6A6"/>
                  </a:gs>
                </a:gsLst>
                <a:lin ang="27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0" algn="ctr">
                    <a:solidFill>
                      <a:srgbClr val="25221E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8" name="Freeform 15"/>
              <p:cNvSpPr>
                <a:spLocks/>
              </p:cNvSpPr>
              <p:nvPr/>
            </p:nvSpPr>
            <p:spPr bwMode="auto">
              <a:xfrm>
                <a:off x="2327" y="1957"/>
                <a:ext cx="1184" cy="187"/>
              </a:xfrm>
              <a:custGeom>
                <a:avLst/>
                <a:gdLst>
                  <a:gd name="T0" fmla="*/ 108 w 108"/>
                  <a:gd name="T1" fmla="*/ 0 h 17"/>
                  <a:gd name="T2" fmla="*/ 108 w 108"/>
                  <a:gd name="T3" fmla="*/ 1 h 17"/>
                  <a:gd name="T4" fmla="*/ 54 w 108"/>
                  <a:gd name="T5" fmla="*/ 17 h 17"/>
                  <a:gd name="T6" fmla="*/ 0 w 108"/>
                  <a:gd name="T7" fmla="*/ 1 h 17"/>
                  <a:gd name="T8" fmla="*/ 0 w 108"/>
                  <a:gd name="T9" fmla="*/ 0 h 17"/>
                  <a:gd name="T10" fmla="*/ 54 w 108"/>
                  <a:gd name="T11" fmla="*/ 16 h 17"/>
                  <a:gd name="T12" fmla="*/ 108 w 108"/>
                  <a:gd name="T13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17">
                    <a:moveTo>
                      <a:pt x="108" y="0"/>
                    </a:moveTo>
                    <a:cubicBezTo>
                      <a:pt x="108" y="0"/>
                      <a:pt x="108" y="1"/>
                      <a:pt x="108" y="1"/>
                    </a:cubicBezTo>
                    <a:cubicBezTo>
                      <a:pt x="108" y="10"/>
                      <a:pt x="84" y="17"/>
                      <a:pt x="54" y="17"/>
                    </a:cubicBezTo>
                    <a:cubicBezTo>
                      <a:pt x="24" y="17"/>
                      <a:pt x="0" y="10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9"/>
                      <a:pt x="25" y="16"/>
                      <a:pt x="54" y="16"/>
                    </a:cubicBezTo>
                    <a:cubicBezTo>
                      <a:pt x="83" y="16"/>
                      <a:pt x="107" y="9"/>
                      <a:pt x="108" y="0"/>
                    </a:cubicBezTo>
                  </a:path>
                </a:pathLst>
              </a:custGeom>
              <a:gradFill rotWithShape="0">
                <a:gsLst>
                  <a:gs pos="0">
                    <a:srgbClr val="E0E0E0"/>
                  </a:gs>
                  <a:gs pos="50000">
                    <a:srgbClr val="FFFFFF"/>
                  </a:gs>
                  <a:gs pos="100000">
                    <a:srgbClr val="E0E0E0"/>
                  </a:gs>
                </a:gsLst>
                <a:lin ang="0" scaled="1"/>
              </a:gra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0" cap="flat" cmpd="sng">
                    <a:solidFill>
                      <a:srgbClr val="25221E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9" name="Freeform 16"/>
              <p:cNvSpPr>
                <a:spLocks/>
              </p:cNvSpPr>
              <p:nvPr/>
            </p:nvSpPr>
            <p:spPr bwMode="auto">
              <a:xfrm>
                <a:off x="2327" y="2528"/>
                <a:ext cx="1184" cy="427"/>
              </a:xfrm>
              <a:custGeom>
                <a:avLst/>
                <a:gdLst>
                  <a:gd name="T0" fmla="*/ 0 w 108"/>
                  <a:gd name="T1" fmla="*/ 39 h 39"/>
                  <a:gd name="T2" fmla="*/ 108 w 108"/>
                  <a:gd name="T3" fmla="*/ 39 h 39"/>
                  <a:gd name="T4" fmla="*/ 95 w 108"/>
                  <a:gd name="T5" fmla="*/ 1 h 39"/>
                  <a:gd name="T6" fmla="*/ 54 w 108"/>
                  <a:gd name="T7" fmla="*/ 13 h 39"/>
                  <a:gd name="T8" fmla="*/ 13 w 108"/>
                  <a:gd name="T9" fmla="*/ 0 h 39"/>
                  <a:gd name="T10" fmla="*/ 0 w 108"/>
                  <a:gd name="T11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8" h="39">
                    <a:moveTo>
                      <a:pt x="0" y="39"/>
                    </a:moveTo>
                    <a:lnTo>
                      <a:pt x="108" y="39"/>
                    </a:lnTo>
                    <a:lnTo>
                      <a:pt x="95" y="1"/>
                    </a:lnTo>
                    <a:cubicBezTo>
                      <a:pt x="88" y="11"/>
                      <a:pt x="62" y="13"/>
                      <a:pt x="54" y="13"/>
                    </a:cubicBezTo>
                    <a:cubicBezTo>
                      <a:pt x="46" y="13"/>
                      <a:pt x="19" y="11"/>
                      <a:pt x="13" y="0"/>
                    </a:cubicBezTo>
                    <a:lnTo>
                      <a:pt x="0" y="39"/>
                    </a:lnTo>
                  </a:path>
                </a:pathLst>
              </a:custGeom>
              <a:gradFill rotWithShape="0">
                <a:gsLst>
                  <a:gs pos="0">
                    <a:srgbClr val="A9A9A9"/>
                  </a:gs>
                  <a:gs pos="100000">
                    <a:srgbClr val="FFFFFF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0" cap="flat" cmpd="sng">
                    <a:solidFill>
                      <a:srgbClr val="25221E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2" name="AutoShape 29"/>
            <p:cNvSpPr>
              <a:spLocks noChangeArrowheads="1"/>
            </p:cNvSpPr>
            <p:nvPr/>
          </p:nvSpPr>
          <p:spPr bwMode="auto">
            <a:xfrm>
              <a:off x="869" y="1311"/>
              <a:ext cx="1170" cy="276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454545">
                    <a:alpha val="0"/>
                  </a:srgbClr>
                </a:gs>
                <a:gs pos="100000">
                  <a:srgbClr val="FFFFFF">
                    <a:alpha val="46001"/>
                  </a:srgb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zh-CN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63" name="Group 181"/>
            <p:cNvGrpSpPr>
              <a:grpSpLocks/>
            </p:cNvGrpSpPr>
            <p:nvPr/>
          </p:nvGrpSpPr>
          <p:grpSpPr bwMode="auto">
            <a:xfrm>
              <a:off x="722" y="1299"/>
              <a:ext cx="1528" cy="1525"/>
              <a:chOff x="722" y="1299"/>
              <a:chExt cx="1528" cy="1525"/>
            </a:xfrm>
          </p:grpSpPr>
          <p:sp>
            <p:nvSpPr>
              <p:cNvPr id="78" name="Freeform 7"/>
              <p:cNvSpPr>
                <a:spLocks/>
              </p:cNvSpPr>
              <p:nvPr/>
            </p:nvSpPr>
            <p:spPr bwMode="auto">
              <a:xfrm>
                <a:off x="748" y="1486"/>
                <a:ext cx="1502" cy="1338"/>
              </a:xfrm>
              <a:custGeom>
                <a:avLst/>
                <a:gdLst>
                  <a:gd name="T0" fmla="*/ 0 w 137"/>
                  <a:gd name="T1" fmla="*/ 0 h 122"/>
                  <a:gd name="T2" fmla="*/ 100 w 137"/>
                  <a:gd name="T3" fmla="*/ 0 h 122"/>
                  <a:gd name="T4" fmla="*/ 137 w 137"/>
                  <a:gd name="T5" fmla="*/ 61 h 122"/>
                  <a:gd name="T6" fmla="*/ 100 w 137"/>
                  <a:gd name="T7" fmla="*/ 122 h 122"/>
                  <a:gd name="T8" fmla="*/ 0 w 137"/>
                  <a:gd name="T9" fmla="*/ 122 h 122"/>
                  <a:gd name="T10" fmla="*/ 0 w 137"/>
                  <a:gd name="T11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7" h="122">
                    <a:moveTo>
                      <a:pt x="0" y="0"/>
                    </a:moveTo>
                    <a:lnTo>
                      <a:pt x="100" y="0"/>
                    </a:lnTo>
                    <a:lnTo>
                      <a:pt x="137" y="61"/>
                    </a:lnTo>
                    <a:lnTo>
                      <a:pt x="100" y="122"/>
                    </a:lnTo>
                    <a:lnTo>
                      <a:pt x="0" y="122"/>
                    </a:lnTo>
                    <a:lnTo>
                      <a:pt x="0" y="0"/>
                    </a:lnTo>
                  </a:path>
                </a:pathLst>
              </a:custGeom>
              <a:gradFill rotWithShape="0">
                <a:gsLst>
                  <a:gs pos="0">
                    <a:srgbClr val="AFAFAF"/>
                  </a:gs>
                  <a:gs pos="100000">
                    <a:srgbClr val="EBEBEB"/>
                  </a:gs>
                </a:gsLst>
                <a:lin ang="18900000" scaled="1"/>
              </a:gradFill>
              <a:ln>
                <a:noFill/>
              </a:ln>
              <a:effectLst>
                <a:outerShdw dist="35921" dir="2700000" algn="ctr" rotWithShape="0">
                  <a:srgbClr val="777777"/>
                </a:outerShdw>
              </a:effectLst>
              <a:extLst>
                <a:ext uri="{91240B29-F687-4F45-9708-019B960494DF}">
                  <a14:hiddenLine xmlns="" xmlns:a14="http://schemas.microsoft.com/office/drawing/2010/main" w="9525" cap="flat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 8"/>
              <p:cNvSpPr>
                <a:spLocks/>
              </p:cNvSpPr>
              <p:nvPr/>
            </p:nvSpPr>
            <p:spPr bwMode="auto">
              <a:xfrm>
                <a:off x="1812" y="1486"/>
                <a:ext cx="438" cy="1338"/>
              </a:xfrm>
              <a:custGeom>
                <a:avLst/>
                <a:gdLst>
                  <a:gd name="T0" fmla="*/ 0 w 40"/>
                  <a:gd name="T1" fmla="*/ 0 h 122"/>
                  <a:gd name="T2" fmla="*/ 3 w 40"/>
                  <a:gd name="T3" fmla="*/ 0 h 122"/>
                  <a:gd name="T4" fmla="*/ 40 w 40"/>
                  <a:gd name="T5" fmla="*/ 61 h 122"/>
                  <a:gd name="T6" fmla="*/ 3 w 40"/>
                  <a:gd name="T7" fmla="*/ 122 h 122"/>
                  <a:gd name="T8" fmla="*/ 0 w 40"/>
                  <a:gd name="T9" fmla="*/ 122 h 122"/>
                  <a:gd name="T10" fmla="*/ 37 w 40"/>
                  <a:gd name="T11" fmla="*/ 61 h 122"/>
                  <a:gd name="T12" fmla="*/ 0 w 40"/>
                  <a:gd name="T1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122">
                    <a:moveTo>
                      <a:pt x="0" y="0"/>
                    </a:moveTo>
                    <a:lnTo>
                      <a:pt x="3" y="0"/>
                    </a:lnTo>
                    <a:lnTo>
                      <a:pt x="40" y="61"/>
                    </a:lnTo>
                    <a:lnTo>
                      <a:pt x="3" y="122"/>
                    </a:lnTo>
                    <a:lnTo>
                      <a:pt x="0" y="122"/>
                    </a:lnTo>
                    <a:lnTo>
                      <a:pt x="37" y="61"/>
                    </a:lnTo>
                    <a:lnTo>
                      <a:pt x="0" y="0"/>
                    </a:lnTo>
                  </a:path>
                </a:pathLst>
              </a:custGeom>
              <a:gradFill rotWithShape="0">
                <a:gsLst>
                  <a:gs pos="0">
                    <a:srgbClr val="9D9D9D"/>
                  </a:gs>
                  <a:gs pos="100000">
                    <a:srgbClr val="D1D1D1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0">
                    <a:solidFill>
                      <a:srgbClr val="25221E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Rectangle 12"/>
              <p:cNvSpPr>
                <a:spLocks noChangeArrowheads="1"/>
              </p:cNvSpPr>
              <p:nvPr/>
            </p:nvSpPr>
            <p:spPr bwMode="auto">
              <a:xfrm>
                <a:off x="748" y="2779"/>
                <a:ext cx="1094" cy="44"/>
              </a:xfrm>
              <a:prstGeom prst="rect">
                <a:avLst/>
              </a:prstGeom>
              <a:gradFill rotWithShape="1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>
                      <a:alpha val="78999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81" name="Group 43"/>
              <p:cNvGrpSpPr>
                <a:grpSpLocks/>
              </p:cNvGrpSpPr>
              <p:nvPr/>
            </p:nvGrpSpPr>
            <p:grpSpPr bwMode="auto">
              <a:xfrm>
                <a:off x="722" y="1299"/>
                <a:ext cx="1323" cy="276"/>
                <a:chOff x="722" y="1386"/>
                <a:chExt cx="1323" cy="276"/>
              </a:xfrm>
            </p:grpSpPr>
            <p:sp>
              <p:nvSpPr>
                <p:cNvPr id="82" name="AutoShape 27"/>
                <p:cNvSpPr>
                  <a:spLocks noChangeArrowheads="1"/>
                </p:cNvSpPr>
                <p:nvPr/>
              </p:nvSpPr>
              <p:spPr bwMode="auto">
                <a:xfrm>
                  <a:off x="722" y="1386"/>
                  <a:ext cx="1323" cy="276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636363"/>
                    </a:gs>
                    <a:gs pos="50000">
                      <a:srgbClr val="E7E7E7"/>
                    </a:gs>
                    <a:gs pos="100000">
                      <a:srgbClr val="636363"/>
                    </a:gs>
                  </a:gsLst>
                  <a:lin ang="5400000" scaled="1"/>
                </a:gradFill>
                <a:ln w="12700">
                  <a:solidFill>
                    <a:srgbClr val="808080"/>
                  </a:solidFill>
                  <a:round/>
                  <a:headEnd/>
                  <a:tailEnd/>
                </a:ln>
                <a:effectLst>
                  <a:outerShdw dist="35921" dir="2700000" algn="ctr" rotWithShape="0">
                    <a:srgbClr val="333333"/>
                  </a:outerShdw>
                </a:effec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3" name="AutoShape 30"/>
                <p:cNvSpPr>
                  <a:spLocks noChangeArrowheads="1"/>
                </p:cNvSpPr>
                <p:nvPr/>
              </p:nvSpPr>
              <p:spPr bwMode="auto">
                <a:xfrm>
                  <a:off x="781" y="1397"/>
                  <a:ext cx="1190" cy="73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FFFFFF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64" name="Group 70"/>
            <p:cNvGrpSpPr>
              <a:grpSpLocks/>
            </p:cNvGrpSpPr>
            <p:nvPr/>
          </p:nvGrpSpPr>
          <p:grpSpPr bwMode="auto">
            <a:xfrm>
              <a:off x="2900" y="1664"/>
              <a:ext cx="131" cy="154"/>
              <a:chOff x="1331" y="1585"/>
              <a:chExt cx="433" cy="508"/>
            </a:xfrm>
          </p:grpSpPr>
          <p:sp>
            <p:nvSpPr>
              <p:cNvPr id="74" name="Freeform 30"/>
              <p:cNvSpPr>
                <a:spLocks/>
              </p:cNvSpPr>
              <p:nvPr/>
            </p:nvSpPr>
            <p:spPr bwMode="auto">
              <a:xfrm>
                <a:off x="1754" y="1585"/>
                <a:ext cx="10" cy="54"/>
              </a:xfrm>
              <a:custGeom>
                <a:avLst/>
                <a:gdLst>
                  <a:gd name="T0" fmla="*/ 0 w 10"/>
                  <a:gd name="T1" fmla="*/ 54 h 54"/>
                  <a:gd name="T2" fmla="*/ 10 w 10"/>
                  <a:gd name="T3" fmla="*/ 50 h 54"/>
                  <a:gd name="T4" fmla="*/ 10 w 10"/>
                  <a:gd name="T5" fmla="*/ 0 h 54"/>
                  <a:gd name="T6" fmla="*/ 0 w 10"/>
                  <a:gd name="T7" fmla="*/ 4 h 54"/>
                  <a:gd name="T8" fmla="*/ 0 w 10"/>
                  <a:gd name="T9" fmla="*/ 54 h 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54"/>
                  <a:gd name="T17" fmla="*/ 10 w 10"/>
                  <a:gd name="T18" fmla="*/ 54 h 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54">
                    <a:moveTo>
                      <a:pt x="0" y="54"/>
                    </a:moveTo>
                    <a:lnTo>
                      <a:pt x="10" y="50"/>
                    </a:lnTo>
                    <a:lnTo>
                      <a:pt x="10" y="0"/>
                    </a:lnTo>
                    <a:lnTo>
                      <a:pt x="0" y="4"/>
                    </a:ln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4770B7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317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altLang="zh-CN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宋体" pitchFamily="2" charset="-122"/>
                </a:endParaRPr>
              </a:p>
            </p:txBody>
          </p:sp>
          <p:sp>
            <p:nvSpPr>
              <p:cNvPr id="75" name="Freeform 31"/>
              <p:cNvSpPr>
                <a:spLocks/>
              </p:cNvSpPr>
              <p:nvPr/>
            </p:nvSpPr>
            <p:spPr bwMode="auto">
              <a:xfrm>
                <a:off x="1635" y="1639"/>
                <a:ext cx="10" cy="56"/>
              </a:xfrm>
              <a:custGeom>
                <a:avLst/>
                <a:gdLst>
                  <a:gd name="T0" fmla="*/ 0 w 10"/>
                  <a:gd name="T1" fmla="*/ 56 h 56"/>
                  <a:gd name="T2" fmla="*/ 10 w 10"/>
                  <a:gd name="T3" fmla="*/ 52 h 56"/>
                  <a:gd name="T4" fmla="*/ 10 w 10"/>
                  <a:gd name="T5" fmla="*/ 0 h 56"/>
                  <a:gd name="T6" fmla="*/ 0 w 10"/>
                  <a:gd name="T7" fmla="*/ 6 h 56"/>
                  <a:gd name="T8" fmla="*/ 0 w 10"/>
                  <a:gd name="T9" fmla="*/ 56 h 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56"/>
                  <a:gd name="T17" fmla="*/ 10 w 10"/>
                  <a:gd name="T18" fmla="*/ 56 h 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56">
                    <a:moveTo>
                      <a:pt x="0" y="56"/>
                    </a:moveTo>
                    <a:lnTo>
                      <a:pt x="10" y="52"/>
                    </a:lnTo>
                    <a:lnTo>
                      <a:pt x="10" y="0"/>
                    </a:lnTo>
                    <a:lnTo>
                      <a:pt x="0" y="6"/>
                    </a:lnTo>
                    <a:lnTo>
                      <a:pt x="0" y="56"/>
                    </a:lnTo>
                    <a:close/>
                  </a:path>
                </a:pathLst>
              </a:custGeom>
              <a:solidFill>
                <a:srgbClr val="4770B7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317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altLang="zh-CN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宋体" pitchFamily="2" charset="-122"/>
                </a:endParaRPr>
              </a:p>
            </p:txBody>
          </p:sp>
          <p:sp>
            <p:nvSpPr>
              <p:cNvPr id="76" name="Freeform 33"/>
              <p:cNvSpPr>
                <a:spLocks/>
              </p:cNvSpPr>
              <p:nvPr/>
            </p:nvSpPr>
            <p:spPr bwMode="auto">
              <a:xfrm>
                <a:off x="1516" y="1695"/>
                <a:ext cx="10" cy="55"/>
              </a:xfrm>
              <a:custGeom>
                <a:avLst/>
                <a:gdLst>
                  <a:gd name="T0" fmla="*/ 0 w 10"/>
                  <a:gd name="T1" fmla="*/ 54 h 54"/>
                  <a:gd name="T2" fmla="*/ 10 w 10"/>
                  <a:gd name="T3" fmla="*/ 50 h 54"/>
                  <a:gd name="T4" fmla="*/ 10 w 10"/>
                  <a:gd name="T5" fmla="*/ 0 h 54"/>
                  <a:gd name="T6" fmla="*/ 0 w 10"/>
                  <a:gd name="T7" fmla="*/ 4 h 54"/>
                  <a:gd name="T8" fmla="*/ 0 w 10"/>
                  <a:gd name="T9" fmla="*/ 54 h 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54"/>
                  <a:gd name="T17" fmla="*/ 10 w 10"/>
                  <a:gd name="T18" fmla="*/ 54 h 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54">
                    <a:moveTo>
                      <a:pt x="0" y="54"/>
                    </a:moveTo>
                    <a:lnTo>
                      <a:pt x="10" y="50"/>
                    </a:lnTo>
                    <a:lnTo>
                      <a:pt x="10" y="0"/>
                    </a:lnTo>
                    <a:lnTo>
                      <a:pt x="0" y="4"/>
                    </a:ln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4770B7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317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宋体" pitchFamily="2" charset="-122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altLang="zh-CN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宋体" pitchFamily="2" charset="-122"/>
                </a:endParaRPr>
              </a:p>
            </p:txBody>
          </p:sp>
          <p:sp>
            <p:nvSpPr>
              <p:cNvPr id="77" name="Freeform 80"/>
              <p:cNvSpPr>
                <a:spLocks/>
              </p:cNvSpPr>
              <p:nvPr/>
            </p:nvSpPr>
            <p:spPr bwMode="auto">
              <a:xfrm>
                <a:off x="1331" y="1700"/>
                <a:ext cx="347" cy="393"/>
              </a:xfrm>
              <a:custGeom>
                <a:avLst/>
                <a:gdLst/>
                <a:ahLst/>
                <a:cxnLst>
                  <a:cxn ang="0">
                    <a:pos x="0" y="160"/>
                  </a:cxn>
                  <a:cxn ang="0">
                    <a:pos x="343" y="390"/>
                  </a:cxn>
                  <a:cxn ang="0">
                    <a:pos x="343" y="0"/>
                  </a:cxn>
                  <a:cxn ang="0">
                    <a:pos x="0" y="160"/>
                  </a:cxn>
                </a:cxnLst>
                <a:rect l="0" t="0" r="r" b="b"/>
                <a:pathLst>
                  <a:path w="343" h="390">
                    <a:moveTo>
                      <a:pt x="0" y="160"/>
                    </a:moveTo>
                    <a:lnTo>
                      <a:pt x="343" y="390"/>
                    </a:lnTo>
                    <a:lnTo>
                      <a:pt x="343" y="0"/>
                    </a:lnTo>
                    <a:lnTo>
                      <a:pt x="0" y="16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>
                      <a:alpha val="55000"/>
                    </a:srgbClr>
                  </a:gs>
                  <a:gs pos="100000">
                    <a:srgbClr val="FFFFFF">
                      <a:gamma/>
                      <a:shade val="46275"/>
                      <a:invGamma/>
                      <a:alpha val="0"/>
                    </a:srgb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宋体"/>
                </a:endParaRPr>
              </a:p>
            </p:txBody>
          </p:sp>
        </p:grpSp>
        <p:grpSp>
          <p:nvGrpSpPr>
            <p:cNvPr id="65" name="Group 182"/>
            <p:cNvGrpSpPr>
              <a:grpSpLocks/>
            </p:cNvGrpSpPr>
            <p:nvPr/>
          </p:nvGrpSpPr>
          <p:grpSpPr bwMode="auto">
            <a:xfrm>
              <a:off x="3555" y="1299"/>
              <a:ext cx="1502" cy="1525"/>
              <a:chOff x="3555" y="1299"/>
              <a:chExt cx="1502" cy="1525"/>
            </a:xfrm>
          </p:grpSpPr>
          <p:sp>
            <p:nvSpPr>
              <p:cNvPr id="66" name="Freeform 9"/>
              <p:cNvSpPr>
                <a:spLocks/>
              </p:cNvSpPr>
              <p:nvPr/>
            </p:nvSpPr>
            <p:spPr bwMode="auto">
              <a:xfrm>
                <a:off x="3555" y="1486"/>
                <a:ext cx="1502" cy="1338"/>
              </a:xfrm>
              <a:custGeom>
                <a:avLst/>
                <a:gdLst>
                  <a:gd name="T0" fmla="*/ 137 w 137"/>
                  <a:gd name="T1" fmla="*/ 0 h 122"/>
                  <a:gd name="T2" fmla="*/ 38 w 137"/>
                  <a:gd name="T3" fmla="*/ 0 h 122"/>
                  <a:gd name="T4" fmla="*/ 0 w 137"/>
                  <a:gd name="T5" fmla="*/ 61 h 122"/>
                  <a:gd name="T6" fmla="*/ 38 w 137"/>
                  <a:gd name="T7" fmla="*/ 122 h 122"/>
                  <a:gd name="T8" fmla="*/ 137 w 137"/>
                  <a:gd name="T9" fmla="*/ 122 h 122"/>
                  <a:gd name="T10" fmla="*/ 137 w 137"/>
                  <a:gd name="T11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7" h="122">
                    <a:moveTo>
                      <a:pt x="137" y="0"/>
                    </a:moveTo>
                    <a:lnTo>
                      <a:pt x="38" y="0"/>
                    </a:lnTo>
                    <a:lnTo>
                      <a:pt x="0" y="61"/>
                    </a:lnTo>
                    <a:lnTo>
                      <a:pt x="38" y="122"/>
                    </a:lnTo>
                    <a:lnTo>
                      <a:pt x="137" y="122"/>
                    </a:lnTo>
                    <a:lnTo>
                      <a:pt x="137" y="0"/>
                    </a:lnTo>
                  </a:path>
                </a:pathLst>
              </a:custGeom>
              <a:gradFill rotWithShape="0">
                <a:gsLst>
                  <a:gs pos="0">
                    <a:srgbClr val="AFAFAF"/>
                  </a:gs>
                  <a:gs pos="100000">
                    <a:srgbClr val="EBEBEB"/>
                  </a:gs>
                </a:gsLst>
                <a:lin ang="18900000" scaled="1"/>
              </a:gradFill>
              <a:ln>
                <a:noFill/>
              </a:ln>
              <a:effectLst>
                <a:outerShdw dist="35921" dir="2700000" algn="ctr" rotWithShape="0">
                  <a:srgbClr val="777777"/>
                </a:outerShdw>
              </a:effectLst>
              <a:extLst>
                <a:ext uri="{91240B29-F687-4F45-9708-019B960494DF}">
                  <a14:hiddenLine xmlns="" xmlns:a14="http://schemas.microsoft.com/office/drawing/2010/main" w="9525" cap="flat" cmpd="sng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10"/>
              <p:cNvSpPr>
                <a:spLocks/>
              </p:cNvSpPr>
              <p:nvPr/>
            </p:nvSpPr>
            <p:spPr bwMode="auto">
              <a:xfrm>
                <a:off x="3555" y="1486"/>
                <a:ext cx="438" cy="1338"/>
              </a:xfrm>
              <a:custGeom>
                <a:avLst/>
                <a:gdLst>
                  <a:gd name="T0" fmla="*/ 40 w 40"/>
                  <a:gd name="T1" fmla="*/ 0 h 122"/>
                  <a:gd name="T2" fmla="*/ 38 w 40"/>
                  <a:gd name="T3" fmla="*/ 0 h 122"/>
                  <a:gd name="T4" fmla="*/ 0 w 40"/>
                  <a:gd name="T5" fmla="*/ 61 h 122"/>
                  <a:gd name="T6" fmla="*/ 38 w 40"/>
                  <a:gd name="T7" fmla="*/ 122 h 122"/>
                  <a:gd name="T8" fmla="*/ 40 w 40"/>
                  <a:gd name="T9" fmla="*/ 122 h 122"/>
                  <a:gd name="T10" fmla="*/ 3 w 40"/>
                  <a:gd name="T11" fmla="*/ 61 h 122"/>
                  <a:gd name="T12" fmla="*/ 40 w 40"/>
                  <a:gd name="T13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122">
                    <a:moveTo>
                      <a:pt x="40" y="0"/>
                    </a:moveTo>
                    <a:lnTo>
                      <a:pt x="38" y="0"/>
                    </a:lnTo>
                    <a:lnTo>
                      <a:pt x="0" y="61"/>
                    </a:lnTo>
                    <a:lnTo>
                      <a:pt x="38" y="122"/>
                    </a:lnTo>
                    <a:lnTo>
                      <a:pt x="40" y="122"/>
                    </a:lnTo>
                    <a:lnTo>
                      <a:pt x="3" y="61"/>
                    </a:lnTo>
                    <a:lnTo>
                      <a:pt x="40" y="0"/>
                    </a:lnTo>
                  </a:path>
                </a:pathLst>
              </a:custGeom>
              <a:gradFill rotWithShape="0">
                <a:gsLst>
                  <a:gs pos="0">
                    <a:srgbClr val="686868"/>
                  </a:gs>
                  <a:gs pos="100000">
                    <a:srgbClr val="EBEBEB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0">
                    <a:solidFill>
                      <a:srgbClr val="25221E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68" name="Group 65"/>
              <p:cNvGrpSpPr>
                <a:grpSpLocks/>
              </p:cNvGrpSpPr>
              <p:nvPr/>
            </p:nvGrpSpPr>
            <p:grpSpPr bwMode="auto">
              <a:xfrm>
                <a:off x="3771" y="1299"/>
                <a:ext cx="1277" cy="276"/>
                <a:chOff x="615" y="1386"/>
                <a:chExt cx="1277" cy="276"/>
              </a:xfrm>
            </p:grpSpPr>
            <p:sp>
              <p:nvSpPr>
                <p:cNvPr id="70" name="AutoShape 66"/>
                <p:cNvSpPr>
                  <a:spLocks noChangeArrowheads="1"/>
                </p:cNvSpPr>
                <p:nvPr/>
              </p:nvSpPr>
              <p:spPr bwMode="auto">
                <a:xfrm>
                  <a:off x="615" y="1386"/>
                  <a:ext cx="1277" cy="276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636363"/>
                    </a:gs>
                    <a:gs pos="50000">
                      <a:srgbClr val="E7E7E7"/>
                    </a:gs>
                    <a:gs pos="100000">
                      <a:srgbClr val="636363"/>
                    </a:gs>
                  </a:gsLst>
                  <a:lin ang="5400000" scaled="1"/>
                </a:gradFill>
                <a:ln w="12700">
                  <a:solidFill>
                    <a:srgbClr val="808080"/>
                  </a:solidFill>
                  <a:round/>
                  <a:headEnd/>
                  <a:tailEnd/>
                </a:ln>
                <a:effectLst>
                  <a:outerShdw dist="35921" dir="2700000" algn="ctr" rotWithShape="0">
                    <a:srgbClr val="333333"/>
                  </a:outerShdw>
                </a:effec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1" name="AutoShape 67"/>
                <p:cNvSpPr>
                  <a:spLocks noChangeArrowheads="1"/>
                </p:cNvSpPr>
                <p:nvPr/>
              </p:nvSpPr>
              <p:spPr bwMode="auto">
                <a:xfrm>
                  <a:off x="725" y="1397"/>
                  <a:ext cx="1108" cy="73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FFFFFF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="" xmlns:a14="http://schemas.microsoft.com/office/drawing/2010/main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69" name="Rectangle 159"/>
              <p:cNvSpPr>
                <a:spLocks noChangeArrowheads="1"/>
              </p:cNvSpPr>
              <p:nvPr/>
            </p:nvSpPr>
            <p:spPr bwMode="auto">
              <a:xfrm>
                <a:off x="3963" y="2779"/>
                <a:ext cx="1094" cy="44"/>
              </a:xfrm>
              <a:prstGeom prst="rect">
                <a:avLst/>
              </a:prstGeom>
              <a:gradFill rotWithShape="1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>
                      <a:alpha val="78999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1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90" name="Group 186"/>
          <p:cNvGrpSpPr>
            <a:grpSpLocks/>
          </p:cNvGrpSpPr>
          <p:nvPr/>
        </p:nvGrpSpPr>
        <p:grpSpPr bwMode="auto">
          <a:xfrm>
            <a:off x="1778544" y="1606344"/>
            <a:ext cx="8496943" cy="4241521"/>
            <a:chOff x="760" y="1395"/>
            <a:chExt cx="4335" cy="856"/>
          </a:xfrm>
        </p:grpSpPr>
        <p:sp>
          <p:nvSpPr>
            <p:cNvPr id="91" name="Text Box 36"/>
            <p:cNvSpPr txBox="1">
              <a:spLocks noChangeArrowheads="1"/>
            </p:cNvSpPr>
            <p:nvPr/>
          </p:nvSpPr>
          <p:spPr bwMode="gray">
            <a:xfrm>
              <a:off x="833" y="1395"/>
              <a:ext cx="1124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ru-RU" altLang="zh-CN" sz="2000" i="0" u="none" strike="noStrike" kern="0" cap="none" spc="0" normalizeH="0" baseline="0" noProof="1" smtClean="0">
                  <a:ln>
                    <a:noFill/>
                  </a:ln>
                  <a:solidFill>
                    <a:srgbClr val="00478E"/>
                  </a:solidFill>
                  <a:effectLst/>
                  <a:uLnTx/>
                  <a:uFillTx/>
                  <a:latin typeface="+mn-lt"/>
                  <a:ea typeface="宋体" pitchFamily="2" charset="-122"/>
                  <a:cs typeface="Arial" pitchFamily="34" charset="0"/>
                </a:rPr>
                <a:t>Дистанционное</a:t>
              </a:r>
              <a:r>
                <a:rPr kumimoji="0" lang="ru-RU" altLang="zh-CN" sz="2000" i="0" u="none" strike="noStrike" kern="0" cap="none" spc="0" normalizeH="0" noProof="1" smtClean="0">
                  <a:ln>
                    <a:noFill/>
                  </a:ln>
                  <a:solidFill>
                    <a:srgbClr val="00478E"/>
                  </a:solidFill>
                  <a:effectLst/>
                  <a:uLnTx/>
                  <a:uFillTx/>
                  <a:latin typeface="+mn-lt"/>
                  <a:ea typeface="宋体" pitchFamily="2" charset="-122"/>
                  <a:cs typeface="Arial" pitchFamily="34" charset="0"/>
                </a:rPr>
                <a:t> обучение</a:t>
              </a:r>
              <a:endParaRPr kumimoji="0" lang="en-US" altLang="zh-CN" sz="2000" i="0" u="none" strike="noStrike" kern="0" cap="none" spc="0" normalizeH="0" baseline="0" noProof="1" smtClean="0">
                <a:ln>
                  <a:noFill/>
                </a:ln>
                <a:solidFill>
                  <a:srgbClr val="00478E"/>
                </a:solidFill>
                <a:effectLst/>
                <a:uLnTx/>
                <a:uFillTx/>
                <a:latin typeface="+mn-lt"/>
                <a:ea typeface="宋体" pitchFamily="2" charset="-122"/>
                <a:cs typeface="Arial" pitchFamily="34" charset="0"/>
              </a:endParaRPr>
            </a:p>
          </p:txBody>
        </p:sp>
        <p:sp>
          <p:nvSpPr>
            <p:cNvPr id="92" name="Text Box 36"/>
            <p:cNvSpPr txBox="1">
              <a:spLocks noChangeArrowheads="1"/>
            </p:cNvSpPr>
            <p:nvPr/>
          </p:nvSpPr>
          <p:spPr bwMode="gray">
            <a:xfrm>
              <a:off x="3956" y="1395"/>
              <a:ext cx="970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宋体" pitchFamily="2" charset="-122"/>
                </a:defRPr>
              </a:lvl9pPr>
            </a:lstStyle>
            <a:p>
              <a:pPr marL="0" marR="0" lvl="0" indent="0" algn="ctr" defTabSz="801688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ru-RU" altLang="zh-CN" sz="2200" i="0" u="none" strike="noStrike" kern="0" cap="none" spc="0" normalizeH="0" baseline="0" noProof="1" smtClean="0">
                  <a:ln>
                    <a:noFill/>
                  </a:ln>
                  <a:solidFill>
                    <a:srgbClr val="00478E"/>
                  </a:solidFill>
                  <a:effectLst/>
                  <a:uLnTx/>
                  <a:uFillTx/>
                  <a:latin typeface="+mn-lt"/>
                  <a:ea typeface="宋体" pitchFamily="2" charset="-122"/>
                  <a:cs typeface="Arial" pitchFamily="34" charset="0"/>
                </a:rPr>
                <a:t>Очное</a:t>
              </a:r>
              <a:r>
                <a:rPr kumimoji="0" lang="ru-RU" altLang="zh-CN" sz="2200" i="0" u="none" strike="noStrike" kern="0" cap="none" spc="0" normalizeH="0" noProof="1" smtClean="0">
                  <a:ln>
                    <a:noFill/>
                  </a:ln>
                  <a:solidFill>
                    <a:srgbClr val="00478E"/>
                  </a:solidFill>
                  <a:effectLst/>
                  <a:uLnTx/>
                  <a:uFillTx/>
                  <a:latin typeface="+mn-lt"/>
                  <a:ea typeface="宋体" pitchFamily="2" charset="-122"/>
                  <a:cs typeface="Arial" pitchFamily="34" charset="0"/>
                </a:rPr>
                <a:t> обучение</a:t>
              </a:r>
              <a:endParaRPr kumimoji="0" lang="en-US" altLang="zh-CN" sz="2200" i="0" u="none" strike="noStrike" kern="0" cap="none" spc="0" normalizeH="0" baseline="0" noProof="1" smtClean="0">
                <a:ln>
                  <a:noFill/>
                </a:ln>
                <a:solidFill>
                  <a:srgbClr val="00478E"/>
                </a:solidFill>
                <a:effectLst/>
                <a:uLnTx/>
                <a:uFillTx/>
                <a:latin typeface="+mn-lt"/>
                <a:ea typeface="宋体" pitchFamily="2" charset="-122"/>
                <a:cs typeface="Arial" pitchFamily="34" charset="0"/>
              </a:endParaRPr>
            </a:p>
          </p:txBody>
        </p:sp>
        <p:sp>
          <p:nvSpPr>
            <p:cNvPr id="93" name="Text Box 178"/>
            <p:cNvSpPr txBox="1">
              <a:spLocks noChangeArrowheads="1"/>
            </p:cNvSpPr>
            <p:nvPr/>
          </p:nvSpPr>
          <p:spPr bwMode="auto">
            <a:xfrm>
              <a:off x="760" y="1613"/>
              <a:ext cx="1212" cy="3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ru-RU" altLang="zh-CN" sz="15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478E"/>
                  </a:solidFill>
                  <a:effectLst/>
                  <a:uLnTx/>
                  <a:uFillTx/>
                </a:rPr>
                <a:t> группа в социальной 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ru-RU" altLang="zh-CN" sz="1500" kern="0" dirty="0" smtClean="0">
                  <a:solidFill>
                    <a:srgbClr val="00478E"/>
                  </a:solidFill>
                </a:rPr>
                <a:t>сети «</a:t>
              </a:r>
              <a:r>
                <a:rPr lang="ru-RU" altLang="zh-CN" sz="1500" kern="0" dirty="0" err="1" smtClean="0">
                  <a:solidFill>
                    <a:srgbClr val="00478E"/>
                  </a:solidFill>
                </a:rPr>
                <a:t>ВКонтакте</a:t>
              </a:r>
              <a:r>
                <a:rPr lang="ru-RU" altLang="zh-CN" sz="1500" kern="0" dirty="0" smtClean="0">
                  <a:solidFill>
                    <a:srgbClr val="00478E"/>
                  </a:solidFill>
                </a:rPr>
                <a:t>»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ru-RU" altLang="zh-CN" sz="15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478E"/>
                  </a:solidFill>
                  <a:effectLst/>
                  <a:uLnTx/>
                  <a:uFillTx/>
                </a:rPr>
                <a:t> </a:t>
              </a:r>
              <a:r>
                <a:rPr kumimoji="0" lang="ru-RU" altLang="zh-CN" sz="150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478E"/>
                  </a:solidFill>
                  <a:effectLst/>
                  <a:uLnTx/>
                  <a:uFillTx/>
                </a:rPr>
                <a:t>онлайн-лекции</a:t>
              </a:r>
              <a:r>
                <a:rPr kumimoji="0" lang="ru-RU" altLang="zh-CN" sz="15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478E"/>
                  </a:solidFill>
                  <a:effectLst/>
                  <a:uLnTx/>
                  <a:uFillTx/>
                </a:rPr>
                <a:t> 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lang="ru-RU" altLang="zh-CN" sz="1500" kern="0" dirty="0" smtClean="0">
                  <a:solidFill>
                    <a:srgbClr val="00478E"/>
                  </a:solidFill>
                </a:rPr>
                <a:t> мастер-классы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ru-RU" altLang="zh-CN" sz="150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478E"/>
                  </a:solidFill>
                  <a:effectLst/>
                  <a:uLnTx/>
                  <a:uFillTx/>
                </a:rPr>
                <a:t> часы с куратором</a:t>
              </a:r>
            </a:p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lang="ru-RU" altLang="zh-CN" sz="1500" kern="0" dirty="0" smtClean="0">
                  <a:solidFill>
                    <a:srgbClr val="00478E"/>
                  </a:solidFill>
                </a:rPr>
                <a:t> консультирование    по интересующим тематикам</a:t>
              </a:r>
              <a:endParaRPr kumimoji="0" lang="en-US" altLang="zh-CN" sz="1500" i="0" u="none" strike="noStrike" kern="0" cap="none" spc="0" normalizeH="0" baseline="0" noProof="0" dirty="0" smtClean="0">
                <a:ln>
                  <a:noFill/>
                </a:ln>
                <a:solidFill>
                  <a:srgbClr val="00478E"/>
                </a:solidFill>
                <a:effectLst/>
                <a:uLnTx/>
                <a:uFillTx/>
              </a:endParaRPr>
            </a:p>
          </p:txBody>
        </p:sp>
        <p:sp>
          <p:nvSpPr>
            <p:cNvPr id="94" name="Text Box 179"/>
            <p:cNvSpPr txBox="1">
              <a:spLocks noChangeArrowheads="1"/>
            </p:cNvSpPr>
            <p:nvPr/>
          </p:nvSpPr>
          <p:spPr bwMode="auto">
            <a:xfrm>
              <a:off x="3882" y="1569"/>
              <a:ext cx="1213" cy="6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marL="108000" eaLnBrk="1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ru-RU" altLang="zh-CN" sz="1500" kern="0" dirty="0" smtClean="0">
                  <a:solidFill>
                    <a:srgbClr val="00478E"/>
                  </a:solidFill>
                </a:rPr>
                <a:t> лекции </a:t>
              </a:r>
            </a:p>
            <a:p>
              <a:pPr marL="108000" eaLnBrk="1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ru-RU" altLang="zh-CN" sz="1500" kern="0" dirty="0" smtClean="0">
                  <a:solidFill>
                    <a:srgbClr val="00478E"/>
                  </a:solidFill>
                </a:rPr>
                <a:t> </a:t>
              </a:r>
              <a:r>
                <a:rPr lang="ru-RU" altLang="zh-CN" sz="1500" kern="0" dirty="0" err="1" smtClean="0">
                  <a:solidFill>
                    <a:srgbClr val="00478E"/>
                  </a:solidFill>
                </a:rPr>
                <a:t>воркшопы</a:t>
              </a:r>
              <a:endParaRPr lang="ru-RU" altLang="zh-CN" sz="1500" kern="0" dirty="0" smtClean="0">
                <a:solidFill>
                  <a:srgbClr val="00478E"/>
                </a:solidFill>
              </a:endParaRPr>
            </a:p>
            <a:p>
              <a:pPr marL="108000" eaLnBrk="1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ru-RU" altLang="zh-CN" sz="1500" kern="0" dirty="0" smtClean="0">
                  <a:solidFill>
                    <a:srgbClr val="00478E"/>
                  </a:solidFill>
                </a:rPr>
                <a:t> мастер-классы                 в живом формате</a:t>
              </a:r>
            </a:p>
            <a:p>
              <a:pPr marL="108000" eaLnBrk="1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ru-RU" altLang="zh-CN" sz="1500" kern="0" dirty="0" smtClean="0">
                  <a:solidFill>
                    <a:srgbClr val="00478E"/>
                  </a:solidFill>
                </a:rPr>
                <a:t> ознакомительные экскурсии                            в учреждения социальной сферы Вологодской области</a:t>
              </a:r>
            </a:p>
            <a:p>
              <a:pPr marL="108000" eaLnBrk="1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ru-RU" altLang="zh-CN" sz="1500" kern="0" dirty="0" smtClean="0">
                  <a:solidFill>
                    <a:srgbClr val="00478E"/>
                  </a:solidFill>
                </a:rPr>
                <a:t> ежедневные итоговые </a:t>
              </a:r>
              <a:r>
                <a:rPr lang="ru-RU" altLang="zh-CN" sz="1500" kern="0" dirty="0" err="1" smtClean="0">
                  <a:solidFill>
                    <a:srgbClr val="00478E"/>
                  </a:solidFill>
                </a:rPr>
                <a:t>бэкграундеры</a:t>
              </a:r>
              <a:endParaRPr lang="ru-RU" altLang="zh-CN" sz="1500" kern="0" dirty="0" smtClean="0">
                <a:solidFill>
                  <a:srgbClr val="00478E"/>
                </a:solidFill>
              </a:endParaRPr>
            </a:p>
            <a:p>
              <a:pPr marL="108000" eaLnBrk="1" fontAlgn="auto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ru-RU" altLang="zh-CN" sz="1500" kern="0" dirty="0" smtClean="0">
                  <a:solidFill>
                    <a:srgbClr val="00478E"/>
                  </a:solidFill>
                </a:rPr>
                <a:t> заключительный                  </a:t>
              </a:r>
              <a:r>
                <a:rPr lang="ru-RU" altLang="zh-CN" sz="1500" kern="0" dirty="0" err="1" smtClean="0">
                  <a:solidFill>
                    <a:srgbClr val="00478E"/>
                  </a:solidFill>
                </a:rPr>
                <a:t>митап</a:t>
              </a:r>
              <a:endParaRPr lang="en-US" altLang="zh-CN" sz="1500" kern="0" dirty="0" smtClean="0">
                <a:solidFill>
                  <a:srgbClr val="00478E"/>
                </a:solidFill>
              </a:endParaRPr>
            </a:p>
          </p:txBody>
        </p:sp>
      </p:grpSp>
      <p:pic>
        <p:nvPicPr>
          <p:cNvPr id="95" name="Picture 5" descr="D:\общая\пнг  чел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18116" y="1822362"/>
            <a:ext cx="1853059" cy="1853059"/>
          </a:xfrm>
          <a:prstGeom prst="rect">
            <a:avLst/>
          </a:prstGeom>
          <a:noFill/>
        </p:spPr>
      </p:pic>
      <p:sp>
        <p:nvSpPr>
          <p:cNvPr id="96" name="Прямоугольник 95"/>
          <p:cNvSpPr/>
          <p:nvPr/>
        </p:nvSpPr>
        <p:spPr>
          <a:xfrm>
            <a:off x="5421791" y="4342642"/>
            <a:ext cx="128272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altLang="zh-CN" b="1" spc="-20" noProof="1" smtClean="0">
                <a:solidFill>
                  <a:srgbClr val="00478E"/>
                </a:solidFill>
              </a:rPr>
              <a:t>40 часов, </a:t>
            </a:r>
          </a:p>
          <a:p>
            <a:pPr algn="ctr"/>
            <a:r>
              <a:rPr lang="ru-RU" altLang="zh-CN" b="1" spc="-20" noProof="1" smtClean="0">
                <a:solidFill>
                  <a:srgbClr val="00478E"/>
                </a:solidFill>
              </a:rPr>
              <a:t>5 дней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xmlns="" val="3670556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FC96DA1A-4EF2-FB00-401D-D85E39A3C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05478"/>
            <a:ext cx="10515600" cy="931222"/>
          </a:xfrm>
        </p:spPr>
        <p:txBody>
          <a:bodyPr anchor="t">
            <a:normAutofit fontScale="90000"/>
          </a:bodyPr>
          <a:lstStyle/>
          <a:p>
            <a:r>
              <a:rPr lang="ru-RU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Ключевые итоги проведения стажировочной площадки «Выездной </a:t>
            </a:r>
            <a:r>
              <a:rPr lang="ru-RU" dirty="0" err="1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микрореабилитационный</a:t>
            </a:r>
            <a:r>
              <a:rPr lang="ru-RU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 центр» в 2020-2021 годах</a:t>
            </a:r>
            <a:endParaRPr lang="ru-RU" dirty="0"/>
          </a:p>
        </p:txBody>
      </p:sp>
      <p:sp>
        <p:nvSpPr>
          <p:cNvPr id="5" name="Текст 15">
            <a:extLst>
              <a:ext uri="{FF2B5EF4-FFF2-40B4-BE49-F238E27FC236}">
                <a16:creationId xmlns="" xmlns:a16="http://schemas.microsoft.com/office/drawing/2014/main" id="{06E9C440-D588-0A31-1038-32FB34BFAED5}"/>
              </a:ext>
            </a:extLst>
          </p:cNvPr>
          <p:cNvSpPr txBox="1">
            <a:spLocks/>
          </p:cNvSpPr>
          <p:nvPr/>
        </p:nvSpPr>
        <p:spPr>
          <a:xfrm>
            <a:off x="836611" y="5989605"/>
            <a:ext cx="469675" cy="3568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smtClean="0">
                <a:solidFill>
                  <a:srgbClr val="002060"/>
                </a:solidFill>
              </a:rPr>
              <a:t>07</a:t>
            </a:r>
            <a:endParaRPr lang="ru-RU" sz="2000" dirty="0">
              <a:solidFill>
                <a:srgbClr val="002060"/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85DD1C21-D89D-2A67-A872-C492E006FC4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7417" y="0"/>
            <a:ext cx="164432" cy="6858000"/>
          </a:xfrm>
          <a:prstGeom prst="rect">
            <a:avLst/>
          </a:prstGeom>
        </p:spPr>
      </p:pic>
      <p:grpSp>
        <p:nvGrpSpPr>
          <p:cNvPr id="12" name="组合 22"/>
          <p:cNvGrpSpPr>
            <a:grpSpLocks/>
          </p:cNvGrpSpPr>
          <p:nvPr/>
        </p:nvGrpSpPr>
        <p:grpSpPr bwMode="auto">
          <a:xfrm>
            <a:off x="1370131" y="5354698"/>
            <a:ext cx="8640960" cy="1224136"/>
            <a:chOff x="819589" y="3264455"/>
            <a:chExt cx="3168487" cy="932422"/>
          </a:xfrm>
        </p:grpSpPr>
        <p:sp>
          <p:nvSpPr>
            <p:cNvPr id="13" name="AutoShap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white">
            <a:xfrm>
              <a:off x="819589" y="3264455"/>
              <a:ext cx="3168487" cy="932422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gradFill>
                <a:gsLst>
                  <a:gs pos="50000">
                    <a:srgbClr val="00DFF6"/>
                  </a:gs>
                  <a:gs pos="100000">
                    <a:srgbClr val="002774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4" name="AutoShape 3"/>
            <p:cNvSpPr>
              <a:spLocks noChangeArrowheads="1"/>
            </p:cNvSpPr>
            <p:nvPr/>
          </p:nvSpPr>
          <p:spPr bwMode="auto">
            <a:xfrm>
              <a:off x="845456" y="3374152"/>
              <a:ext cx="651768" cy="767877"/>
            </a:xfrm>
            <a:prstGeom prst="roundRect">
              <a:avLst/>
            </a:prstGeom>
            <a:gradFill flip="none" rotWithShape="1">
              <a:gsLst>
                <a:gs pos="0">
                  <a:srgbClr val="3333FF">
                    <a:shade val="30000"/>
                    <a:satMod val="115000"/>
                  </a:srgbClr>
                </a:gs>
                <a:gs pos="50000">
                  <a:srgbClr val="3333FF">
                    <a:shade val="67500"/>
                    <a:satMod val="115000"/>
                  </a:srgbClr>
                </a:gs>
                <a:gs pos="100000">
                  <a:srgbClr val="3333FF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rgbClr val="AFEAFF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zh-CN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5" name="组合 23"/>
          <p:cNvGrpSpPr>
            <a:grpSpLocks/>
          </p:cNvGrpSpPr>
          <p:nvPr/>
        </p:nvGrpSpPr>
        <p:grpSpPr bwMode="auto">
          <a:xfrm>
            <a:off x="1370131" y="3986547"/>
            <a:ext cx="8640960" cy="1224136"/>
            <a:chOff x="4141048" y="2737304"/>
            <a:chExt cx="3168487" cy="932526"/>
          </a:xfrm>
        </p:grpSpPr>
        <p:sp>
          <p:nvSpPr>
            <p:cNvPr id="16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white">
            <a:xfrm>
              <a:off x="4141048" y="2737304"/>
              <a:ext cx="3168487" cy="932526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solidFill>
                <a:schemeClr val="accent1">
                  <a:lumMod val="50000"/>
                </a:schemeClr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7" name="AutoShape 3"/>
            <p:cNvSpPr>
              <a:spLocks noChangeArrowheads="1"/>
            </p:cNvSpPr>
            <p:nvPr/>
          </p:nvSpPr>
          <p:spPr bwMode="auto">
            <a:xfrm>
              <a:off x="4166915" y="2847013"/>
              <a:ext cx="652256" cy="767877"/>
            </a:xfrm>
            <a:prstGeom prst="roundRect">
              <a:avLst/>
            </a:prstGeom>
            <a:gradFill flip="none" rotWithShape="1">
              <a:gsLst>
                <a:gs pos="0">
                  <a:srgbClr val="0033CC">
                    <a:shade val="30000"/>
                    <a:satMod val="115000"/>
                  </a:srgbClr>
                </a:gs>
                <a:gs pos="50000">
                  <a:srgbClr val="0033CC">
                    <a:shade val="67500"/>
                    <a:satMod val="115000"/>
                  </a:srgbClr>
                </a:gs>
                <a:gs pos="100000">
                  <a:srgbClr val="0033CC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zh-CN" sz="1600" b="1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" name="矩形 29"/>
            <p:cNvSpPr/>
            <p:nvPr/>
          </p:nvSpPr>
          <p:spPr>
            <a:xfrm>
              <a:off x="4839449" y="2737304"/>
              <a:ext cx="2470086" cy="9143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2" algn="just" defTabSz="912813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buFont typeface="Arial" pitchFamily="34" charset="0"/>
                <a:buChar char="•"/>
                <a:tabLst>
                  <a:tab pos="136525" algn="l"/>
                </a:tabLst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 Очень понравилась ваша практическая часть – это руководство к действию в работе с особыми детьми. Это здорово.</a:t>
              </a:r>
            </a:p>
            <a:p>
              <a:pPr marL="0" lvl="2" algn="just" defTabSz="912813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70C0"/>
                </a:buClr>
                <a:buSzPct val="80000"/>
                <a:buFont typeface="Arial" pitchFamily="34" charset="0"/>
                <a:buChar char="•"/>
                <a:tabLst>
                  <a:tab pos="136525" algn="l"/>
                </a:tabLst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 Огромное спасибо за практический опыт в таком объеме. Все  было настолько доступно, системно. Полученный опыт будет ориентиром     в дальнейшей работе учреждения.</a:t>
              </a:r>
              <a:endParaRPr lang="en-US" altLang="zh-CN" sz="1600" spc="-20" noProof="1">
                <a:solidFill>
                  <a:srgbClr val="00478E"/>
                </a:solidFill>
              </a:endParaRPr>
            </a:p>
          </p:txBody>
        </p:sp>
      </p:grpSp>
      <p:grpSp>
        <p:nvGrpSpPr>
          <p:cNvPr id="19" name="组合 24"/>
          <p:cNvGrpSpPr>
            <a:grpSpLocks/>
          </p:cNvGrpSpPr>
          <p:nvPr/>
        </p:nvGrpSpPr>
        <p:grpSpPr bwMode="auto">
          <a:xfrm>
            <a:off x="1370131" y="2618395"/>
            <a:ext cx="8640960" cy="1202356"/>
            <a:chOff x="2355097" y="2643182"/>
            <a:chExt cx="3168487" cy="915832"/>
          </a:xfrm>
        </p:grpSpPr>
        <p:sp>
          <p:nvSpPr>
            <p:cNvPr id="20" name="AutoShap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white">
            <a:xfrm>
              <a:off x="2355097" y="2643182"/>
              <a:ext cx="3168487" cy="915832"/>
            </a:xfrm>
            <a:prstGeom prst="roundRect">
              <a:avLst>
                <a:gd name="adj" fmla="val 4784"/>
              </a:avLst>
            </a:prstGeom>
            <a:solidFill>
              <a:schemeClr val="bg1">
                <a:alpha val="60000"/>
              </a:schemeClr>
            </a:solidFill>
            <a:ln w="38100">
              <a:solidFill>
                <a:schemeClr val="accent1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01600" prst="divot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n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1" name="AutoShape 3"/>
            <p:cNvSpPr>
              <a:spLocks noChangeArrowheads="1"/>
            </p:cNvSpPr>
            <p:nvPr/>
          </p:nvSpPr>
          <p:spPr bwMode="auto">
            <a:xfrm>
              <a:off x="2380964" y="2752879"/>
              <a:ext cx="600523" cy="767877"/>
            </a:xfrm>
            <a:prstGeom prst="roundRect">
              <a:avLst/>
            </a:prstGeom>
            <a:gradFill flip="none" rotWithShape="1">
              <a:gsLst>
                <a:gs pos="0">
                  <a:srgbClr val="0066FF">
                    <a:tint val="66000"/>
                    <a:satMod val="160000"/>
                  </a:srgbClr>
                </a:gs>
                <a:gs pos="50000">
                  <a:srgbClr val="0066FF">
                    <a:tint val="44500"/>
                    <a:satMod val="160000"/>
                  </a:srgbClr>
                </a:gs>
                <a:gs pos="100000">
                  <a:srgbClr val="0066FF">
                    <a:tint val="23500"/>
                    <a:satMod val="160000"/>
                  </a:srgbClr>
                </a:gs>
              </a:gsLst>
              <a:lin ang="13500000" scaled="1"/>
              <a:tileRect/>
            </a:gradFill>
            <a:ln w="25400">
              <a:solidFill>
                <a:schemeClr val="accent1"/>
              </a:soli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prst="convex"/>
              <a:bevelB w="0" h="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buFont typeface="Wingdings" pitchFamily="2" charset="2"/>
                <a:buChar char="u"/>
                <a:defRPr/>
              </a:pPr>
              <a:endParaRPr lang="zh-CN" altLang="zh-CN" sz="16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2" name="矩形 34"/>
            <p:cNvSpPr/>
            <p:nvPr/>
          </p:nvSpPr>
          <p:spPr>
            <a:xfrm>
              <a:off x="3001764" y="2681441"/>
              <a:ext cx="2483202" cy="7830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2" algn="just" defTabSz="801688">
                <a:lnSpc>
                  <a:spcPct val="95000"/>
                </a:lnSpc>
                <a:spcAft>
                  <a:spcPts val="800"/>
                </a:spcAft>
                <a:buClr>
                  <a:srgbClr val="0070C0"/>
                </a:buClr>
                <a:buSzPct val="80000"/>
                <a:tabLst>
                  <a:tab pos="136525" algn="l"/>
                </a:tabLst>
                <a:defRPr/>
              </a:pPr>
              <a:r>
                <a:rPr lang="ru-RU" altLang="zh-CN" sz="1600" spc="-20" noProof="1" smtClean="0">
                  <a:solidFill>
                    <a:srgbClr val="00478E"/>
                  </a:solidFill>
                </a:rPr>
                <a:t>Интересным было всё. Особенно различные мастер – классы, видео-материалы по обучению родителей  из опыта работы сотрудников учреждения. Методические материалы по консультированию семей беспорно помогут в работе</a:t>
              </a:r>
              <a:endParaRPr lang="en-US" altLang="zh-CN" sz="1600" spc="-20" noProof="1">
                <a:solidFill>
                  <a:srgbClr val="00478E"/>
                </a:solidFill>
              </a:endParaRP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1392165" y="2917443"/>
            <a:ext cx="172819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zh-CN" sz="1700" b="1" dirty="0" smtClean="0">
                <a:solidFill>
                  <a:srgbClr val="FFFFFF"/>
                </a:solidFill>
                <a:ea typeface="宋体" charset="-122"/>
              </a:rPr>
              <a:t>Астраханская </a:t>
            </a:r>
          </a:p>
          <a:p>
            <a:pPr algn="ctr"/>
            <a:r>
              <a:rPr lang="ru-RU" altLang="zh-CN" sz="1700" b="1" dirty="0" smtClean="0">
                <a:solidFill>
                  <a:srgbClr val="FFFFFF"/>
                </a:solidFill>
                <a:ea typeface="宋体" charset="-122"/>
              </a:rPr>
              <a:t>область</a:t>
            </a:r>
            <a:endParaRPr lang="ru-RU" sz="1700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1481097" y="4346586"/>
            <a:ext cx="1656184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zh-CN" sz="1700" b="1" dirty="0" smtClean="0">
                <a:solidFill>
                  <a:srgbClr val="FFFFFF"/>
                </a:solidFill>
                <a:ea typeface="宋体" charset="-122"/>
              </a:rPr>
              <a:t>Смоленская </a:t>
            </a:r>
          </a:p>
          <a:p>
            <a:pPr algn="ctr"/>
            <a:r>
              <a:rPr lang="ru-RU" altLang="zh-CN" sz="1700" b="1" dirty="0" smtClean="0">
                <a:solidFill>
                  <a:srgbClr val="FFFFFF"/>
                </a:solidFill>
                <a:ea typeface="宋体" charset="-122"/>
              </a:rPr>
              <a:t>область 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1481097" y="5703721"/>
            <a:ext cx="1656184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zh-CN" sz="1700" b="1" dirty="0" smtClean="0">
                <a:solidFill>
                  <a:srgbClr val="FFFFFF"/>
                </a:solidFill>
                <a:ea typeface="宋体" charset="-122"/>
              </a:rPr>
              <a:t>Омская область</a:t>
            </a:r>
          </a:p>
        </p:txBody>
      </p:sp>
      <p:sp>
        <p:nvSpPr>
          <p:cNvPr id="26" name="矩形 34"/>
          <p:cNvSpPr/>
          <p:nvPr/>
        </p:nvSpPr>
        <p:spPr bwMode="auto">
          <a:xfrm>
            <a:off x="3277836" y="5553799"/>
            <a:ext cx="6661248" cy="7940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 defTabSz="801688">
              <a:lnSpc>
                <a:spcPct val="95000"/>
              </a:lnSpc>
              <a:spcAft>
                <a:spcPts val="800"/>
              </a:spcAft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ru-RU" altLang="zh-CN" sz="1600" spc="-20" noProof="1" smtClean="0">
                <a:solidFill>
                  <a:srgbClr val="00478E"/>
                </a:solidFill>
              </a:rPr>
              <a:t>Ждем дальнейшее продолжение сотрудничества, обмен практическими материалами, интересными находками в достижении цели  помощи детям с ОВЗ</a:t>
            </a:r>
            <a:endParaRPr lang="en-US" altLang="zh-CN" sz="1600" spc="-20" noProof="1">
              <a:solidFill>
                <a:srgbClr val="00478E"/>
              </a:solidFill>
            </a:endParaRPr>
          </a:p>
        </p:txBody>
      </p:sp>
      <p:grpSp>
        <p:nvGrpSpPr>
          <p:cNvPr id="27" name="组合 17"/>
          <p:cNvGrpSpPr/>
          <p:nvPr/>
        </p:nvGrpSpPr>
        <p:grpSpPr>
          <a:xfrm>
            <a:off x="330233" y="1466267"/>
            <a:ext cx="1053159" cy="1053159"/>
            <a:chOff x="304800" y="673100"/>
            <a:chExt cx="4000500" cy="4000500"/>
          </a:xfrm>
          <a:effectLst>
            <a:outerShdw blurRad="444500" dist="254000" dir="8100000" algn="tr" rotWithShape="0">
              <a:prstClr val="black">
                <a:alpha val="50000"/>
              </a:prstClr>
            </a:outerShdw>
          </a:effectLst>
        </p:grpSpPr>
        <p:sp>
          <p:nvSpPr>
            <p:cNvPr id="28" name="同心圆 15"/>
            <p:cNvSpPr/>
            <p:nvPr/>
          </p:nvSpPr>
          <p:spPr>
            <a:xfrm>
              <a:off x="304800" y="673100"/>
              <a:ext cx="4000500" cy="4000500"/>
            </a:xfrm>
            <a:prstGeom prst="donut">
              <a:avLst>
                <a:gd name="adj" fmla="val 4879"/>
              </a:avLst>
            </a:prstGeom>
            <a:gradFill>
              <a:gsLst>
                <a:gs pos="0">
                  <a:schemeClr val="bg1"/>
                </a:gs>
                <a:gs pos="55000">
                  <a:schemeClr val="bg1">
                    <a:lumMod val="9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81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29" name="椭圆 20"/>
            <p:cNvSpPr/>
            <p:nvPr/>
          </p:nvSpPr>
          <p:spPr>
            <a:xfrm>
              <a:off x="392112" y="760412"/>
              <a:ext cx="3825874" cy="3825874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51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</p:grpSp>
      <p:sp>
        <p:nvSpPr>
          <p:cNvPr id="30" name="KSO_Shape"/>
          <p:cNvSpPr>
            <a:spLocks/>
          </p:cNvSpPr>
          <p:nvPr/>
        </p:nvSpPr>
        <p:spPr bwMode="auto">
          <a:xfrm>
            <a:off x="542377" y="1698542"/>
            <a:ext cx="604723" cy="515017"/>
          </a:xfrm>
          <a:custGeom>
            <a:avLst/>
            <a:gdLst>
              <a:gd name="T0" fmla="*/ 432030 w 2125663"/>
              <a:gd name="T1" fmla="*/ 1344893 h 1811338"/>
              <a:gd name="T2" fmla="*/ 462740 w 2125663"/>
              <a:gd name="T3" fmla="*/ 1477960 h 1811338"/>
              <a:gd name="T4" fmla="*/ 513638 w 2125663"/>
              <a:gd name="T5" fmla="*/ 1557743 h 1811338"/>
              <a:gd name="T6" fmla="*/ 516481 w 2125663"/>
              <a:gd name="T7" fmla="*/ 1336346 h 1811338"/>
              <a:gd name="T8" fmla="*/ 503401 w 2125663"/>
              <a:gd name="T9" fmla="*/ 1310416 h 1811338"/>
              <a:gd name="T10" fmla="*/ 515913 w 2125663"/>
              <a:gd name="T11" fmla="*/ 1250009 h 1811338"/>
              <a:gd name="T12" fmla="*/ 618846 w 2125663"/>
              <a:gd name="T13" fmla="*/ 1242885 h 1811338"/>
              <a:gd name="T14" fmla="*/ 643583 w 2125663"/>
              <a:gd name="T15" fmla="*/ 1263116 h 1811338"/>
              <a:gd name="T16" fmla="*/ 642446 w 2125663"/>
              <a:gd name="T17" fmla="*/ 1324948 h 1811338"/>
              <a:gd name="T18" fmla="*/ 619414 w 2125663"/>
              <a:gd name="T19" fmla="*/ 1342899 h 1811338"/>
              <a:gd name="T20" fmla="*/ 664057 w 2125663"/>
              <a:gd name="T21" fmla="*/ 1524691 h 1811338"/>
              <a:gd name="T22" fmla="*/ 704434 w 2125663"/>
              <a:gd name="T23" fmla="*/ 1417553 h 1811338"/>
              <a:gd name="T24" fmla="*/ 725191 w 2125663"/>
              <a:gd name="T25" fmla="*/ 1259697 h 1811338"/>
              <a:gd name="T26" fmla="*/ 857412 w 2125663"/>
              <a:gd name="T27" fmla="*/ 1192451 h 1811338"/>
              <a:gd name="T28" fmla="*/ 923096 w 2125663"/>
              <a:gd name="T29" fmla="*/ 1212682 h 1811338"/>
              <a:gd name="T30" fmla="*/ 970013 w 2125663"/>
              <a:gd name="T31" fmla="*/ 1259697 h 1811338"/>
              <a:gd name="T32" fmla="*/ 990201 w 2125663"/>
              <a:gd name="T33" fmla="*/ 1325233 h 1811338"/>
              <a:gd name="T34" fmla="*/ 980818 w 2125663"/>
              <a:gd name="T35" fmla="*/ 1537228 h 1811338"/>
              <a:gd name="T36" fmla="*/ 935891 w 2125663"/>
              <a:gd name="T37" fmla="*/ 1570566 h 1811338"/>
              <a:gd name="T38" fmla="*/ 798837 w 2125663"/>
              <a:gd name="T39" fmla="*/ 1607608 h 1811338"/>
              <a:gd name="T40" fmla="*/ 617424 w 2125663"/>
              <a:gd name="T41" fmla="*/ 1622140 h 1811338"/>
              <a:gd name="T42" fmla="*/ 428049 w 2125663"/>
              <a:gd name="T43" fmla="*/ 1615872 h 1811338"/>
              <a:gd name="T44" fmla="*/ 264551 w 2125663"/>
              <a:gd name="T45" fmla="*/ 1588232 h 1811338"/>
              <a:gd name="T46" fmla="*/ 180669 w 2125663"/>
              <a:gd name="T47" fmla="*/ 1549481 h 1811338"/>
              <a:gd name="T48" fmla="*/ 159912 w 2125663"/>
              <a:gd name="T49" fmla="*/ 1517283 h 1811338"/>
              <a:gd name="T50" fmla="*/ 167873 w 2125663"/>
              <a:gd name="T51" fmla="*/ 1284201 h 1811338"/>
              <a:gd name="T52" fmla="*/ 205123 w 2125663"/>
              <a:gd name="T53" fmla="*/ 1228638 h 1811338"/>
              <a:gd name="T54" fmla="*/ 264266 w 2125663"/>
              <a:gd name="T55" fmla="*/ 1196440 h 1811338"/>
              <a:gd name="T56" fmla="*/ 421225 w 2125663"/>
              <a:gd name="T57" fmla="*/ 1183048 h 1811338"/>
              <a:gd name="T58" fmla="*/ 433514 w 2125663"/>
              <a:gd name="T59" fmla="*/ 761303 h 1811338"/>
              <a:gd name="T60" fmla="*/ 391450 w 2125663"/>
              <a:gd name="T61" fmla="*/ 813630 h 1811338"/>
              <a:gd name="T62" fmla="*/ 379229 w 2125663"/>
              <a:gd name="T63" fmla="*/ 902075 h 1811338"/>
              <a:gd name="T64" fmla="*/ 414756 w 2125663"/>
              <a:gd name="T65" fmla="*/ 1016114 h 1811338"/>
              <a:gd name="T66" fmla="*/ 487516 w 2125663"/>
              <a:gd name="T67" fmla="*/ 1099439 h 1811338"/>
              <a:gd name="T68" fmla="*/ 567666 w 2125663"/>
              <a:gd name="T69" fmla="*/ 1135272 h 1811338"/>
              <a:gd name="T70" fmla="*/ 645542 w 2125663"/>
              <a:gd name="T71" fmla="*/ 1111099 h 1811338"/>
              <a:gd name="T72" fmla="*/ 722282 w 2125663"/>
              <a:gd name="T73" fmla="*/ 1035452 h 1811338"/>
              <a:gd name="T74" fmla="*/ 767757 w 2125663"/>
              <a:gd name="T75" fmla="*/ 926248 h 1811338"/>
              <a:gd name="T76" fmla="*/ 666290 w 2125663"/>
              <a:gd name="T77" fmla="*/ 863967 h 1811338"/>
              <a:gd name="T78" fmla="*/ 546918 w 2125663"/>
              <a:gd name="T79" fmla="*/ 832116 h 1811338"/>
              <a:gd name="T80" fmla="*/ 484389 w 2125663"/>
              <a:gd name="T81" fmla="*/ 790595 h 1811338"/>
              <a:gd name="T82" fmla="*/ 452273 w 2125663"/>
              <a:gd name="T83" fmla="*/ 760734 h 1811338"/>
              <a:gd name="T84" fmla="*/ 568234 w 2125663"/>
              <a:gd name="T85" fmla="*/ 587258 h 1811338"/>
              <a:gd name="T86" fmla="*/ 631616 w 2125663"/>
              <a:gd name="T87" fmla="*/ 594937 h 1811338"/>
              <a:gd name="T88" fmla="*/ 705513 w 2125663"/>
              <a:gd name="T89" fmla="*/ 631054 h 1811338"/>
              <a:gd name="T90" fmla="*/ 790210 w 2125663"/>
              <a:gd name="T91" fmla="*/ 732864 h 1811338"/>
              <a:gd name="T92" fmla="*/ 826306 w 2125663"/>
              <a:gd name="T93" fmla="*/ 873920 h 1811338"/>
              <a:gd name="T94" fmla="*/ 818064 w 2125663"/>
              <a:gd name="T95" fmla="*/ 959237 h 1811338"/>
              <a:gd name="T96" fmla="*/ 780831 w 2125663"/>
              <a:gd name="T97" fmla="*/ 1048534 h 1811338"/>
              <a:gd name="T98" fmla="*/ 687607 w 2125663"/>
              <a:gd name="T99" fmla="*/ 1148922 h 1811338"/>
              <a:gd name="T100" fmla="*/ 588983 w 2125663"/>
              <a:gd name="T101" fmla="*/ 1190727 h 1811338"/>
              <a:gd name="T102" fmla="*/ 525033 w 2125663"/>
              <a:gd name="T103" fmla="*/ 1182480 h 1811338"/>
              <a:gd name="T104" fmla="*/ 421293 w 2125663"/>
              <a:gd name="T105" fmla="*/ 1115081 h 1811338"/>
              <a:gd name="T106" fmla="*/ 345406 w 2125663"/>
              <a:gd name="T107" fmla="*/ 1002463 h 1811338"/>
              <a:gd name="T108" fmla="*/ 325511 w 2125663"/>
              <a:gd name="T109" fmla="*/ 929092 h 1811338"/>
              <a:gd name="T110" fmla="*/ 330627 w 2125663"/>
              <a:gd name="T111" fmla="*/ 813915 h 1811338"/>
              <a:gd name="T112" fmla="*/ 388324 w 2125663"/>
              <a:gd name="T113" fmla="*/ 686510 h 1811338"/>
              <a:gd name="T114" fmla="*/ 482400 w 2125663"/>
              <a:gd name="T115" fmla="*/ 608303 h 1811338"/>
              <a:gd name="T116" fmla="*/ 542939 w 2125663"/>
              <a:gd name="T117" fmla="*/ 589534 h 1811338"/>
              <a:gd name="T118" fmla="*/ 0 w 2125663"/>
              <a:gd name="T119" fmla="*/ 0 h 1811338"/>
              <a:gd name="T120" fmla="*/ 174993 w 2125663"/>
              <a:gd name="T121" fmla="*/ 1118883 h 181133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125663" h="1811338">
                <a:moveTo>
                  <a:pt x="470017" y="1320800"/>
                </a:moveTo>
                <a:lnTo>
                  <a:pt x="470335" y="1343069"/>
                </a:lnTo>
                <a:lnTo>
                  <a:pt x="471286" y="1364382"/>
                </a:lnTo>
                <a:lnTo>
                  <a:pt x="472238" y="1385696"/>
                </a:lnTo>
                <a:lnTo>
                  <a:pt x="473190" y="1406374"/>
                </a:lnTo>
                <a:lnTo>
                  <a:pt x="474459" y="1426415"/>
                </a:lnTo>
                <a:lnTo>
                  <a:pt x="476363" y="1446139"/>
                </a:lnTo>
                <a:lnTo>
                  <a:pt x="478267" y="1464908"/>
                </a:lnTo>
                <a:lnTo>
                  <a:pt x="480170" y="1483677"/>
                </a:lnTo>
                <a:lnTo>
                  <a:pt x="482074" y="1501491"/>
                </a:lnTo>
                <a:lnTo>
                  <a:pt x="484612" y="1518988"/>
                </a:lnTo>
                <a:lnTo>
                  <a:pt x="487468" y="1535530"/>
                </a:lnTo>
                <a:lnTo>
                  <a:pt x="490323" y="1552072"/>
                </a:lnTo>
                <a:lnTo>
                  <a:pt x="493179" y="1567660"/>
                </a:lnTo>
                <a:lnTo>
                  <a:pt x="496352" y="1582611"/>
                </a:lnTo>
                <a:lnTo>
                  <a:pt x="500159" y="1597563"/>
                </a:lnTo>
                <a:lnTo>
                  <a:pt x="503649" y="1611560"/>
                </a:lnTo>
                <a:lnTo>
                  <a:pt x="507774" y="1624921"/>
                </a:lnTo>
                <a:lnTo>
                  <a:pt x="511899" y="1637646"/>
                </a:lnTo>
                <a:lnTo>
                  <a:pt x="516341" y="1650052"/>
                </a:lnTo>
                <a:lnTo>
                  <a:pt x="520783" y="1661505"/>
                </a:lnTo>
                <a:lnTo>
                  <a:pt x="525859" y="1672639"/>
                </a:lnTo>
                <a:lnTo>
                  <a:pt x="530936" y="1683137"/>
                </a:lnTo>
                <a:lnTo>
                  <a:pt x="536329" y="1692998"/>
                </a:lnTo>
                <a:lnTo>
                  <a:pt x="541723" y="1702224"/>
                </a:lnTo>
                <a:lnTo>
                  <a:pt x="547752" y="1710813"/>
                </a:lnTo>
                <a:lnTo>
                  <a:pt x="553463" y="1718766"/>
                </a:lnTo>
                <a:lnTo>
                  <a:pt x="559808" y="1726083"/>
                </a:lnTo>
                <a:lnTo>
                  <a:pt x="566154" y="1732763"/>
                </a:lnTo>
                <a:lnTo>
                  <a:pt x="573134" y="1739125"/>
                </a:lnTo>
                <a:lnTo>
                  <a:pt x="580114" y="1744215"/>
                </a:lnTo>
                <a:lnTo>
                  <a:pt x="587412" y="1749305"/>
                </a:lnTo>
                <a:lnTo>
                  <a:pt x="594709" y="1753123"/>
                </a:lnTo>
                <a:lnTo>
                  <a:pt x="594709" y="1499901"/>
                </a:lnTo>
                <a:lnTo>
                  <a:pt x="591537" y="1499264"/>
                </a:lnTo>
                <a:lnTo>
                  <a:pt x="588047" y="1498310"/>
                </a:lnTo>
                <a:lnTo>
                  <a:pt x="584874" y="1497038"/>
                </a:lnTo>
                <a:lnTo>
                  <a:pt x="582018" y="1495765"/>
                </a:lnTo>
                <a:lnTo>
                  <a:pt x="579163" y="1494175"/>
                </a:lnTo>
                <a:lnTo>
                  <a:pt x="576307" y="1491948"/>
                </a:lnTo>
                <a:lnTo>
                  <a:pt x="573769" y="1489721"/>
                </a:lnTo>
                <a:lnTo>
                  <a:pt x="571548" y="1487494"/>
                </a:lnTo>
                <a:lnTo>
                  <a:pt x="569327" y="1484949"/>
                </a:lnTo>
                <a:lnTo>
                  <a:pt x="567106" y="1482404"/>
                </a:lnTo>
                <a:lnTo>
                  <a:pt x="565519" y="1479223"/>
                </a:lnTo>
                <a:lnTo>
                  <a:pt x="564250" y="1476360"/>
                </a:lnTo>
                <a:lnTo>
                  <a:pt x="563298" y="1473179"/>
                </a:lnTo>
                <a:lnTo>
                  <a:pt x="562347" y="1469998"/>
                </a:lnTo>
                <a:lnTo>
                  <a:pt x="562029" y="1466180"/>
                </a:lnTo>
                <a:lnTo>
                  <a:pt x="561712" y="1462999"/>
                </a:lnTo>
                <a:lnTo>
                  <a:pt x="561712" y="1425143"/>
                </a:lnTo>
                <a:lnTo>
                  <a:pt x="562029" y="1421007"/>
                </a:lnTo>
                <a:lnTo>
                  <a:pt x="562664" y="1417508"/>
                </a:lnTo>
                <a:lnTo>
                  <a:pt x="563616" y="1414009"/>
                </a:lnTo>
                <a:lnTo>
                  <a:pt x="564885" y="1410191"/>
                </a:lnTo>
                <a:lnTo>
                  <a:pt x="566154" y="1407010"/>
                </a:lnTo>
                <a:lnTo>
                  <a:pt x="568375" y="1403829"/>
                </a:lnTo>
                <a:lnTo>
                  <a:pt x="570596" y="1400966"/>
                </a:lnTo>
                <a:lnTo>
                  <a:pt x="572817" y="1398103"/>
                </a:lnTo>
                <a:lnTo>
                  <a:pt x="575673" y="1395558"/>
                </a:lnTo>
                <a:lnTo>
                  <a:pt x="578528" y="1393649"/>
                </a:lnTo>
                <a:lnTo>
                  <a:pt x="581701" y="1391741"/>
                </a:lnTo>
                <a:lnTo>
                  <a:pt x="584874" y="1390150"/>
                </a:lnTo>
                <a:lnTo>
                  <a:pt x="588364" y="1388878"/>
                </a:lnTo>
                <a:lnTo>
                  <a:pt x="592171" y="1387605"/>
                </a:lnTo>
                <a:lnTo>
                  <a:pt x="595979" y="1386969"/>
                </a:lnTo>
                <a:lnTo>
                  <a:pt x="599786" y="1386969"/>
                </a:lnTo>
                <a:lnTo>
                  <a:pt x="682597" y="1386969"/>
                </a:lnTo>
                <a:lnTo>
                  <a:pt x="686721" y="1386969"/>
                </a:lnTo>
                <a:lnTo>
                  <a:pt x="690529" y="1387605"/>
                </a:lnTo>
                <a:lnTo>
                  <a:pt x="694019" y="1388878"/>
                </a:lnTo>
                <a:lnTo>
                  <a:pt x="697826" y="1390150"/>
                </a:lnTo>
                <a:lnTo>
                  <a:pt x="700999" y="1391741"/>
                </a:lnTo>
                <a:lnTo>
                  <a:pt x="704172" y="1393649"/>
                </a:lnTo>
                <a:lnTo>
                  <a:pt x="707345" y="1395558"/>
                </a:lnTo>
                <a:lnTo>
                  <a:pt x="709883" y="1398103"/>
                </a:lnTo>
                <a:lnTo>
                  <a:pt x="712104" y="1400966"/>
                </a:lnTo>
                <a:lnTo>
                  <a:pt x="714325" y="1403829"/>
                </a:lnTo>
                <a:lnTo>
                  <a:pt x="716229" y="1407010"/>
                </a:lnTo>
                <a:lnTo>
                  <a:pt x="718132" y="1410191"/>
                </a:lnTo>
                <a:lnTo>
                  <a:pt x="719402" y="1414009"/>
                </a:lnTo>
                <a:lnTo>
                  <a:pt x="720353" y="1417508"/>
                </a:lnTo>
                <a:lnTo>
                  <a:pt x="720671" y="1421007"/>
                </a:lnTo>
                <a:lnTo>
                  <a:pt x="720988" y="1425143"/>
                </a:lnTo>
                <a:lnTo>
                  <a:pt x="720988" y="1462999"/>
                </a:lnTo>
                <a:lnTo>
                  <a:pt x="720988" y="1466180"/>
                </a:lnTo>
                <a:lnTo>
                  <a:pt x="720353" y="1469998"/>
                </a:lnTo>
                <a:lnTo>
                  <a:pt x="719719" y="1473179"/>
                </a:lnTo>
                <a:lnTo>
                  <a:pt x="718450" y="1476360"/>
                </a:lnTo>
                <a:lnTo>
                  <a:pt x="716863" y="1479223"/>
                </a:lnTo>
                <a:lnTo>
                  <a:pt x="715277" y="1482404"/>
                </a:lnTo>
                <a:lnTo>
                  <a:pt x="713373" y="1484949"/>
                </a:lnTo>
                <a:lnTo>
                  <a:pt x="711469" y="1487494"/>
                </a:lnTo>
                <a:lnTo>
                  <a:pt x="708931" y="1489721"/>
                </a:lnTo>
                <a:lnTo>
                  <a:pt x="706710" y="1491948"/>
                </a:lnTo>
                <a:lnTo>
                  <a:pt x="703537" y="1494175"/>
                </a:lnTo>
                <a:lnTo>
                  <a:pt x="700682" y="1495765"/>
                </a:lnTo>
                <a:lnTo>
                  <a:pt x="697826" y="1497038"/>
                </a:lnTo>
                <a:lnTo>
                  <a:pt x="694653" y="1498310"/>
                </a:lnTo>
                <a:lnTo>
                  <a:pt x="691163" y="1499264"/>
                </a:lnTo>
                <a:lnTo>
                  <a:pt x="687991" y="1499901"/>
                </a:lnTo>
                <a:lnTo>
                  <a:pt x="687991" y="1753123"/>
                </a:lnTo>
                <a:lnTo>
                  <a:pt x="695605" y="1749305"/>
                </a:lnTo>
                <a:lnTo>
                  <a:pt x="702586" y="1744215"/>
                </a:lnTo>
                <a:lnTo>
                  <a:pt x="709566" y="1739125"/>
                </a:lnTo>
                <a:lnTo>
                  <a:pt x="716229" y="1732763"/>
                </a:lnTo>
                <a:lnTo>
                  <a:pt x="722892" y="1726083"/>
                </a:lnTo>
                <a:lnTo>
                  <a:pt x="729237" y="1718766"/>
                </a:lnTo>
                <a:lnTo>
                  <a:pt x="734948" y="1710813"/>
                </a:lnTo>
                <a:lnTo>
                  <a:pt x="740977" y="1702224"/>
                </a:lnTo>
                <a:lnTo>
                  <a:pt x="746371" y="1692998"/>
                </a:lnTo>
                <a:lnTo>
                  <a:pt x="751447" y="1683137"/>
                </a:lnTo>
                <a:lnTo>
                  <a:pt x="756841" y="1672639"/>
                </a:lnTo>
                <a:lnTo>
                  <a:pt x="761600" y="1661505"/>
                </a:lnTo>
                <a:lnTo>
                  <a:pt x="766359" y="1650052"/>
                </a:lnTo>
                <a:lnTo>
                  <a:pt x="770801" y="1637646"/>
                </a:lnTo>
                <a:lnTo>
                  <a:pt x="774926" y="1624921"/>
                </a:lnTo>
                <a:lnTo>
                  <a:pt x="779051" y="1611560"/>
                </a:lnTo>
                <a:lnTo>
                  <a:pt x="782541" y="1597563"/>
                </a:lnTo>
                <a:lnTo>
                  <a:pt x="786031" y="1582611"/>
                </a:lnTo>
                <a:lnTo>
                  <a:pt x="789521" y="1567660"/>
                </a:lnTo>
                <a:lnTo>
                  <a:pt x="792377" y="1552072"/>
                </a:lnTo>
                <a:lnTo>
                  <a:pt x="795232" y="1535530"/>
                </a:lnTo>
                <a:lnTo>
                  <a:pt x="797770" y="1518988"/>
                </a:lnTo>
                <a:lnTo>
                  <a:pt x="800626" y="1501491"/>
                </a:lnTo>
                <a:lnTo>
                  <a:pt x="802530" y="1483677"/>
                </a:lnTo>
                <a:lnTo>
                  <a:pt x="804751" y="1464908"/>
                </a:lnTo>
                <a:lnTo>
                  <a:pt x="806337" y="1446139"/>
                </a:lnTo>
                <a:lnTo>
                  <a:pt x="807923" y="1426415"/>
                </a:lnTo>
                <a:lnTo>
                  <a:pt x="809193" y="1406374"/>
                </a:lnTo>
                <a:lnTo>
                  <a:pt x="810779" y="1385696"/>
                </a:lnTo>
                <a:lnTo>
                  <a:pt x="811731" y="1364382"/>
                </a:lnTo>
                <a:lnTo>
                  <a:pt x="812365" y="1343069"/>
                </a:lnTo>
                <a:lnTo>
                  <a:pt x="813000" y="1320800"/>
                </a:lnTo>
                <a:lnTo>
                  <a:pt x="840921" y="1322709"/>
                </a:lnTo>
                <a:lnTo>
                  <a:pt x="866621" y="1324300"/>
                </a:lnTo>
                <a:lnTo>
                  <a:pt x="909771" y="1327481"/>
                </a:lnTo>
                <a:lnTo>
                  <a:pt x="938644" y="1330026"/>
                </a:lnTo>
                <a:lnTo>
                  <a:pt x="948797" y="1330980"/>
                </a:lnTo>
                <a:lnTo>
                  <a:pt x="956729" y="1331298"/>
                </a:lnTo>
                <a:lnTo>
                  <a:pt x="964661" y="1331934"/>
                </a:lnTo>
                <a:lnTo>
                  <a:pt x="972593" y="1332889"/>
                </a:lnTo>
                <a:lnTo>
                  <a:pt x="980208" y="1334161"/>
                </a:lnTo>
                <a:lnTo>
                  <a:pt x="987823" y="1335752"/>
                </a:lnTo>
                <a:lnTo>
                  <a:pt x="995437" y="1337979"/>
                </a:lnTo>
                <a:lnTo>
                  <a:pt x="1002418" y="1340205"/>
                </a:lnTo>
                <a:lnTo>
                  <a:pt x="1009715" y="1343387"/>
                </a:lnTo>
                <a:lnTo>
                  <a:pt x="1016378" y="1346250"/>
                </a:lnTo>
                <a:lnTo>
                  <a:pt x="1023358" y="1349749"/>
                </a:lnTo>
                <a:lnTo>
                  <a:pt x="1030021" y="1353885"/>
                </a:lnTo>
                <a:lnTo>
                  <a:pt x="1036050" y="1357702"/>
                </a:lnTo>
                <a:lnTo>
                  <a:pt x="1042395" y="1361837"/>
                </a:lnTo>
                <a:lnTo>
                  <a:pt x="1048106" y="1366927"/>
                </a:lnTo>
                <a:lnTo>
                  <a:pt x="1053817" y="1371699"/>
                </a:lnTo>
                <a:lnTo>
                  <a:pt x="1059211" y="1377107"/>
                </a:lnTo>
                <a:lnTo>
                  <a:pt x="1064605" y="1382197"/>
                </a:lnTo>
                <a:lnTo>
                  <a:pt x="1069364" y="1388241"/>
                </a:lnTo>
                <a:lnTo>
                  <a:pt x="1073806" y="1393967"/>
                </a:lnTo>
                <a:lnTo>
                  <a:pt x="1078248" y="1400012"/>
                </a:lnTo>
                <a:lnTo>
                  <a:pt x="1082373" y="1406374"/>
                </a:lnTo>
                <a:lnTo>
                  <a:pt x="1085863" y="1413054"/>
                </a:lnTo>
                <a:lnTo>
                  <a:pt x="1089670" y="1419735"/>
                </a:lnTo>
                <a:lnTo>
                  <a:pt x="1092843" y="1426734"/>
                </a:lnTo>
                <a:lnTo>
                  <a:pt x="1095381" y="1433732"/>
                </a:lnTo>
                <a:lnTo>
                  <a:pt x="1097920" y="1441049"/>
                </a:lnTo>
                <a:lnTo>
                  <a:pt x="1100141" y="1448684"/>
                </a:lnTo>
                <a:lnTo>
                  <a:pt x="1101727" y="1456000"/>
                </a:lnTo>
                <a:lnTo>
                  <a:pt x="1103314" y="1463635"/>
                </a:lnTo>
                <a:lnTo>
                  <a:pt x="1104265" y="1471588"/>
                </a:lnTo>
                <a:lnTo>
                  <a:pt x="1104900" y="1479541"/>
                </a:lnTo>
                <a:lnTo>
                  <a:pt x="1104900" y="1487494"/>
                </a:lnTo>
                <a:lnTo>
                  <a:pt x="1104900" y="1686000"/>
                </a:lnTo>
                <a:lnTo>
                  <a:pt x="1104900" y="1690135"/>
                </a:lnTo>
                <a:lnTo>
                  <a:pt x="1104265" y="1693953"/>
                </a:lnTo>
                <a:lnTo>
                  <a:pt x="1103631" y="1697770"/>
                </a:lnTo>
                <a:lnTo>
                  <a:pt x="1102362" y="1701906"/>
                </a:lnTo>
                <a:lnTo>
                  <a:pt x="1101093" y="1705405"/>
                </a:lnTo>
                <a:lnTo>
                  <a:pt x="1099189" y="1709222"/>
                </a:lnTo>
                <a:lnTo>
                  <a:pt x="1096968" y="1713040"/>
                </a:lnTo>
                <a:lnTo>
                  <a:pt x="1094430" y="1716221"/>
                </a:lnTo>
                <a:lnTo>
                  <a:pt x="1091891" y="1719720"/>
                </a:lnTo>
                <a:lnTo>
                  <a:pt x="1089036" y="1722901"/>
                </a:lnTo>
                <a:lnTo>
                  <a:pt x="1085546" y="1726719"/>
                </a:lnTo>
                <a:lnTo>
                  <a:pt x="1082056" y="1729900"/>
                </a:lnTo>
                <a:lnTo>
                  <a:pt x="1078248" y="1732763"/>
                </a:lnTo>
                <a:lnTo>
                  <a:pt x="1074124" y="1736262"/>
                </a:lnTo>
                <a:lnTo>
                  <a:pt x="1069682" y="1739125"/>
                </a:lnTo>
                <a:lnTo>
                  <a:pt x="1065240" y="1741989"/>
                </a:lnTo>
                <a:lnTo>
                  <a:pt x="1055404" y="1748033"/>
                </a:lnTo>
                <a:lnTo>
                  <a:pt x="1044299" y="1753441"/>
                </a:lnTo>
                <a:lnTo>
                  <a:pt x="1032560" y="1758531"/>
                </a:lnTo>
                <a:lnTo>
                  <a:pt x="1019868" y="1763939"/>
                </a:lnTo>
                <a:lnTo>
                  <a:pt x="1005908" y="1768392"/>
                </a:lnTo>
                <a:lnTo>
                  <a:pt x="991630" y="1773164"/>
                </a:lnTo>
                <a:lnTo>
                  <a:pt x="976718" y="1777300"/>
                </a:lnTo>
                <a:lnTo>
                  <a:pt x="960854" y="1781117"/>
                </a:lnTo>
                <a:lnTo>
                  <a:pt x="944038" y="1784934"/>
                </a:lnTo>
                <a:lnTo>
                  <a:pt x="927222" y="1788434"/>
                </a:lnTo>
                <a:lnTo>
                  <a:pt x="909454" y="1791615"/>
                </a:lnTo>
                <a:lnTo>
                  <a:pt x="891369" y="1794796"/>
                </a:lnTo>
                <a:lnTo>
                  <a:pt x="872332" y="1797341"/>
                </a:lnTo>
                <a:lnTo>
                  <a:pt x="853295" y="1799886"/>
                </a:lnTo>
                <a:lnTo>
                  <a:pt x="833941" y="1801795"/>
                </a:lnTo>
                <a:lnTo>
                  <a:pt x="813952" y="1804022"/>
                </a:lnTo>
                <a:lnTo>
                  <a:pt x="793328" y="1805930"/>
                </a:lnTo>
                <a:lnTo>
                  <a:pt x="773022" y="1807203"/>
                </a:lnTo>
                <a:lnTo>
                  <a:pt x="752399" y="1808475"/>
                </a:lnTo>
                <a:lnTo>
                  <a:pt x="731458" y="1809748"/>
                </a:lnTo>
                <a:lnTo>
                  <a:pt x="710200" y="1810384"/>
                </a:lnTo>
                <a:lnTo>
                  <a:pt x="688942" y="1811020"/>
                </a:lnTo>
                <a:lnTo>
                  <a:pt x="667684" y="1811338"/>
                </a:lnTo>
                <a:lnTo>
                  <a:pt x="646427" y="1811338"/>
                </a:lnTo>
                <a:lnTo>
                  <a:pt x="625486" y="1811338"/>
                </a:lnTo>
                <a:lnTo>
                  <a:pt x="603911" y="1811020"/>
                </a:lnTo>
                <a:lnTo>
                  <a:pt x="582653" y="1810384"/>
                </a:lnTo>
                <a:lnTo>
                  <a:pt x="561395" y="1809748"/>
                </a:lnTo>
                <a:lnTo>
                  <a:pt x="540137" y="1808475"/>
                </a:lnTo>
                <a:lnTo>
                  <a:pt x="518879" y="1807203"/>
                </a:lnTo>
                <a:lnTo>
                  <a:pt x="498573" y="1805930"/>
                </a:lnTo>
                <a:lnTo>
                  <a:pt x="477632" y="1804022"/>
                </a:lnTo>
                <a:lnTo>
                  <a:pt x="457326" y="1801795"/>
                </a:lnTo>
                <a:lnTo>
                  <a:pt x="437337" y="1799886"/>
                </a:lnTo>
                <a:lnTo>
                  <a:pt x="417983" y="1797341"/>
                </a:lnTo>
                <a:lnTo>
                  <a:pt x="398629" y="1794796"/>
                </a:lnTo>
                <a:lnTo>
                  <a:pt x="379909" y="1791615"/>
                </a:lnTo>
                <a:lnTo>
                  <a:pt x="361824" y="1788434"/>
                </a:lnTo>
                <a:lnTo>
                  <a:pt x="344056" y="1784934"/>
                </a:lnTo>
                <a:lnTo>
                  <a:pt x="327240" y="1781117"/>
                </a:lnTo>
                <a:lnTo>
                  <a:pt x="310741" y="1777300"/>
                </a:lnTo>
                <a:lnTo>
                  <a:pt x="295195" y="1773164"/>
                </a:lnTo>
                <a:lnTo>
                  <a:pt x="280600" y="1768392"/>
                </a:lnTo>
                <a:lnTo>
                  <a:pt x="266322" y="1763939"/>
                </a:lnTo>
                <a:lnTo>
                  <a:pt x="252996" y="1758531"/>
                </a:lnTo>
                <a:lnTo>
                  <a:pt x="240622" y="1753441"/>
                </a:lnTo>
                <a:lnTo>
                  <a:pt x="229517" y="1748033"/>
                </a:lnTo>
                <a:lnTo>
                  <a:pt x="219047" y="1741989"/>
                </a:lnTo>
                <a:lnTo>
                  <a:pt x="214288" y="1739125"/>
                </a:lnTo>
                <a:lnTo>
                  <a:pt x="209846" y="1736262"/>
                </a:lnTo>
                <a:lnTo>
                  <a:pt x="205404" y="1732763"/>
                </a:lnTo>
                <a:lnTo>
                  <a:pt x="201596" y="1729900"/>
                </a:lnTo>
                <a:lnTo>
                  <a:pt x="198106" y="1726719"/>
                </a:lnTo>
                <a:lnTo>
                  <a:pt x="194299" y="1722901"/>
                </a:lnTo>
                <a:lnTo>
                  <a:pt x="191443" y="1719720"/>
                </a:lnTo>
                <a:lnTo>
                  <a:pt x="188588" y="1716221"/>
                </a:lnTo>
                <a:lnTo>
                  <a:pt x="186367" y="1713040"/>
                </a:lnTo>
                <a:lnTo>
                  <a:pt x="183828" y="1709222"/>
                </a:lnTo>
                <a:lnTo>
                  <a:pt x="181925" y="1705405"/>
                </a:lnTo>
                <a:lnTo>
                  <a:pt x="180338" y="1701906"/>
                </a:lnTo>
                <a:lnTo>
                  <a:pt x="179386" y="1697770"/>
                </a:lnTo>
                <a:lnTo>
                  <a:pt x="178435" y="1693953"/>
                </a:lnTo>
                <a:lnTo>
                  <a:pt x="177800" y="1690135"/>
                </a:lnTo>
                <a:lnTo>
                  <a:pt x="177800" y="1686000"/>
                </a:lnTo>
                <a:lnTo>
                  <a:pt x="177800" y="1487494"/>
                </a:lnTo>
                <a:lnTo>
                  <a:pt x="178117" y="1479541"/>
                </a:lnTo>
                <a:lnTo>
                  <a:pt x="178435" y="1471588"/>
                </a:lnTo>
                <a:lnTo>
                  <a:pt x="179386" y="1463635"/>
                </a:lnTo>
                <a:lnTo>
                  <a:pt x="180973" y="1456000"/>
                </a:lnTo>
                <a:lnTo>
                  <a:pt x="182559" y="1448684"/>
                </a:lnTo>
                <a:lnTo>
                  <a:pt x="184463" y="1441049"/>
                </a:lnTo>
                <a:lnTo>
                  <a:pt x="187318" y="1433732"/>
                </a:lnTo>
                <a:lnTo>
                  <a:pt x="190174" y="1426734"/>
                </a:lnTo>
                <a:lnTo>
                  <a:pt x="193030" y="1419735"/>
                </a:lnTo>
                <a:lnTo>
                  <a:pt x="196520" y="1413054"/>
                </a:lnTo>
                <a:lnTo>
                  <a:pt x="200327" y="1406374"/>
                </a:lnTo>
                <a:lnTo>
                  <a:pt x="204452" y="1400012"/>
                </a:lnTo>
                <a:lnTo>
                  <a:pt x="208576" y="1393967"/>
                </a:lnTo>
                <a:lnTo>
                  <a:pt x="213336" y="1388241"/>
                </a:lnTo>
                <a:lnTo>
                  <a:pt x="218095" y="1382197"/>
                </a:lnTo>
                <a:lnTo>
                  <a:pt x="223489" y="1377107"/>
                </a:lnTo>
                <a:lnTo>
                  <a:pt x="228883" y="1371699"/>
                </a:lnTo>
                <a:lnTo>
                  <a:pt x="234594" y="1366927"/>
                </a:lnTo>
                <a:lnTo>
                  <a:pt x="240305" y="1361837"/>
                </a:lnTo>
                <a:lnTo>
                  <a:pt x="246650" y="1357702"/>
                </a:lnTo>
                <a:lnTo>
                  <a:pt x="252679" y="1353885"/>
                </a:lnTo>
                <a:lnTo>
                  <a:pt x="259659" y="1349749"/>
                </a:lnTo>
                <a:lnTo>
                  <a:pt x="266005" y="1346250"/>
                </a:lnTo>
                <a:lnTo>
                  <a:pt x="272985" y="1343387"/>
                </a:lnTo>
                <a:lnTo>
                  <a:pt x="280282" y="1340205"/>
                </a:lnTo>
                <a:lnTo>
                  <a:pt x="287263" y="1337979"/>
                </a:lnTo>
                <a:lnTo>
                  <a:pt x="294877" y="1335752"/>
                </a:lnTo>
                <a:lnTo>
                  <a:pt x="302492" y="1334161"/>
                </a:lnTo>
                <a:lnTo>
                  <a:pt x="310107" y="1332889"/>
                </a:lnTo>
                <a:lnTo>
                  <a:pt x="318039" y="1331934"/>
                </a:lnTo>
                <a:lnTo>
                  <a:pt x="325971" y="1331298"/>
                </a:lnTo>
                <a:lnTo>
                  <a:pt x="333903" y="1330980"/>
                </a:lnTo>
                <a:lnTo>
                  <a:pt x="344056" y="1330026"/>
                </a:lnTo>
                <a:lnTo>
                  <a:pt x="372929" y="1327481"/>
                </a:lnTo>
                <a:lnTo>
                  <a:pt x="415762" y="1324300"/>
                </a:lnTo>
                <a:lnTo>
                  <a:pt x="441779" y="1322709"/>
                </a:lnTo>
                <a:lnTo>
                  <a:pt x="470017" y="1320800"/>
                </a:lnTo>
                <a:close/>
                <a:moveTo>
                  <a:pt x="1004887" y="995363"/>
                </a:moveTo>
                <a:lnTo>
                  <a:pt x="1176337" y="995363"/>
                </a:lnTo>
                <a:lnTo>
                  <a:pt x="1176337" y="1265238"/>
                </a:lnTo>
                <a:lnTo>
                  <a:pt x="1004887" y="1265238"/>
                </a:lnTo>
                <a:lnTo>
                  <a:pt x="1004887" y="995363"/>
                </a:lnTo>
                <a:close/>
                <a:moveTo>
                  <a:pt x="493561" y="847408"/>
                </a:moveTo>
                <a:lnTo>
                  <a:pt x="491024" y="847726"/>
                </a:lnTo>
                <a:lnTo>
                  <a:pt x="488804" y="848043"/>
                </a:lnTo>
                <a:lnTo>
                  <a:pt x="485950" y="848996"/>
                </a:lnTo>
                <a:lnTo>
                  <a:pt x="483730" y="849948"/>
                </a:lnTo>
                <a:lnTo>
                  <a:pt x="481510" y="851218"/>
                </a:lnTo>
                <a:lnTo>
                  <a:pt x="479290" y="852806"/>
                </a:lnTo>
                <a:lnTo>
                  <a:pt x="475167" y="856933"/>
                </a:lnTo>
                <a:lnTo>
                  <a:pt x="470727" y="861061"/>
                </a:lnTo>
                <a:lnTo>
                  <a:pt x="466604" y="865823"/>
                </a:lnTo>
                <a:lnTo>
                  <a:pt x="462482" y="871221"/>
                </a:lnTo>
                <a:lnTo>
                  <a:pt x="454553" y="882651"/>
                </a:lnTo>
                <a:lnTo>
                  <a:pt x="448527" y="890906"/>
                </a:lnTo>
                <a:lnTo>
                  <a:pt x="442819" y="899478"/>
                </a:lnTo>
                <a:lnTo>
                  <a:pt x="436793" y="908368"/>
                </a:lnTo>
                <a:lnTo>
                  <a:pt x="431402" y="917893"/>
                </a:lnTo>
                <a:lnTo>
                  <a:pt x="429499" y="926783"/>
                </a:lnTo>
                <a:lnTo>
                  <a:pt x="427596" y="935673"/>
                </a:lnTo>
                <a:lnTo>
                  <a:pt x="426010" y="945198"/>
                </a:lnTo>
                <a:lnTo>
                  <a:pt x="424742" y="954406"/>
                </a:lnTo>
                <a:lnTo>
                  <a:pt x="423790" y="963931"/>
                </a:lnTo>
                <a:lnTo>
                  <a:pt x="423156" y="973773"/>
                </a:lnTo>
                <a:lnTo>
                  <a:pt x="422839" y="982981"/>
                </a:lnTo>
                <a:lnTo>
                  <a:pt x="422839" y="992823"/>
                </a:lnTo>
                <a:lnTo>
                  <a:pt x="423156" y="1007111"/>
                </a:lnTo>
                <a:lnTo>
                  <a:pt x="424107" y="1020764"/>
                </a:lnTo>
                <a:lnTo>
                  <a:pt x="426010" y="1034099"/>
                </a:lnTo>
                <a:lnTo>
                  <a:pt x="428547" y="1047434"/>
                </a:lnTo>
                <a:lnTo>
                  <a:pt x="432036" y="1060769"/>
                </a:lnTo>
                <a:lnTo>
                  <a:pt x="435525" y="1073469"/>
                </a:lnTo>
                <a:lnTo>
                  <a:pt x="439965" y="1086169"/>
                </a:lnTo>
                <a:lnTo>
                  <a:pt x="445039" y="1098551"/>
                </a:lnTo>
                <a:lnTo>
                  <a:pt x="450430" y="1110934"/>
                </a:lnTo>
                <a:lnTo>
                  <a:pt x="456456" y="1122999"/>
                </a:lnTo>
                <a:lnTo>
                  <a:pt x="462799" y="1134429"/>
                </a:lnTo>
                <a:lnTo>
                  <a:pt x="469459" y="1145541"/>
                </a:lnTo>
                <a:lnTo>
                  <a:pt x="477070" y="1156019"/>
                </a:lnTo>
                <a:lnTo>
                  <a:pt x="484364" y="1166496"/>
                </a:lnTo>
                <a:lnTo>
                  <a:pt x="492293" y="1176656"/>
                </a:lnTo>
                <a:lnTo>
                  <a:pt x="500539" y="1186181"/>
                </a:lnTo>
                <a:lnTo>
                  <a:pt x="508784" y="1195389"/>
                </a:lnTo>
                <a:lnTo>
                  <a:pt x="517347" y="1204279"/>
                </a:lnTo>
                <a:lnTo>
                  <a:pt x="526227" y="1212216"/>
                </a:lnTo>
                <a:lnTo>
                  <a:pt x="535107" y="1220154"/>
                </a:lnTo>
                <a:lnTo>
                  <a:pt x="543987" y="1227456"/>
                </a:lnTo>
                <a:lnTo>
                  <a:pt x="553184" y="1234124"/>
                </a:lnTo>
                <a:lnTo>
                  <a:pt x="562381" y="1240474"/>
                </a:lnTo>
                <a:lnTo>
                  <a:pt x="571578" y="1245871"/>
                </a:lnTo>
                <a:lnTo>
                  <a:pt x="580775" y="1250951"/>
                </a:lnTo>
                <a:lnTo>
                  <a:pt x="589655" y="1255079"/>
                </a:lnTo>
                <a:lnTo>
                  <a:pt x="598853" y="1258889"/>
                </a:lnTo>
                <a:lnTo>
                  <a:pt x="607732" y="1262381"/>
                </a:lnTo>
                <a:lnTo>
                  <a:pt x="616612" y="1264604"/>
                </a:lnTo>
                <a:lnTo>
                  <a:pt x="624858" y="1266509"/>
                </a:lnTo>
                <a:lnTo>
                  <a:pt x="633421" y="1267461"/>
                </a:lnTo>
                <a:lnTo>
                  <a:pt x="641349" y="1267779"/>
                </a:lnTo>
                <a:lnTo>
                  <a:pt x="649595" y="1267461"/>
                </a:lnTo>
                <a:lnTo>
                  <a:pt x="657524" y="1266509"/>
                </a:lnTo>
                <a:lnTo>
                  <a:pt x="666404" y="1264604"/>
                </a:lnTo>
                <a:lnTo>
                  <a:pt x="674967" y="1262381"/>
                </a:lnTo>
                <a:lnTo>
                  <a:pt x="684164" y="1258889"/>
                </a:lnTo>
                <a:lnTo>
                  <a:pt x="692726" y="1255079"/>
                </a:lnTo>
                <a:lnTo>
                  <a:pt x="701924" y="1250951"/>
                </a:lnTo>
                <a:lnTo>
                  <a:pt x="711121" y="1245871"/>
                </a:lnTo>
                <a:lnTo>
                  <a:pt x="720318" y="1240474"/>
                </a:lnTo>
                <a:lnTo>
                  <a:pt x="729515" y="1234124"/>
                </a:lnTo>
                <a:lnTo>
                  <a:pt x="738395" y="1227456"/>
                </a:lnTo>
                <a:lnTo>
                  <a:pt x="747592" y="1220154"/>
                </a:lnTo>
                <a:lnTo>
                  <a:pt x="756472" y="1212216"/>
                </a:lnTo>
                <a:lnTo>
                  <a:pt x="765352" y="1204279"/>
                </a:lnTo>
                <a:lnTo>
                  <a:pt x="773915" y="1195389"/>
                </a:lnTo>
                <a:lnTo>
                  <a:pt x="782160" y="1186181"/>
                </a:lnTo>
                <a:lnTo>
                  <a:pt x="790406" y="1176656"/>
                </a:lnTo>
                <a:lnTo>
                  <a:pt x="798652" y="1166496"/>
                </a:lnTo>
                <a:lnTo>
                  <a:pt x="805946" y="1156019"/>
                </a:lnTo>
                <a:lnTo>
                  <a:pt x="813240" y="1145541"/>
                </a:lnTo>
                <a:lnTo>
                  <a:pt x="819900" y="1134429"/>
                </a:lnTo>
                <a:lnTo>
                  <a:pt x="826243" y="1122999"/>
                </a:lnTo>
                <a:lnTo>
                  <a:pt x="831952" y="1110934"/>
                </a:lnTo>
                <a:lnTo>
                  <a:pt x="837660" y="1098551"/>
                </a:lnTo>
                <a:lnTo>
                  <a:pt x="842417" y="1086169"/>
                </a:lnTo>
                <a:lnTo>
                  <a:pt x="847174" y="1073469"/>
                </a:lnTo>
                <a:lnTo>
                  <a:pt x="850980" y="1060769"/>
                </a:lnTo>
                <a:lnTo>
                  <a:pt x="853834" y="1047434"/>
                </a:lnTo>
                <a:lnTo>
                  <a:pt x="856689" y="1034099"/>
                </a:lnTo>
                <a:lnTo>
                  <a:pt x="858592" y="1020764"/>
                </a:lnTo>
                <a:lnTo>
                  <a:pt x="859543" y="1007111"/>
                </a:lnTo>
                <a:lnTo>
                  <a:pt x="860177" y="992823"/>
                </a:lnTo>
                <a:lnTo>
                  <a:pt x="859860" y="984886"/>
                </a:lnTo>
                <a:lnTo>
                  <a:pt x="859543" y="976313"/>
                </a:lnTo>
                <a:lnTo>
                  <a:pt x="837343" y="975361"/>
                </a:lnTo>
                <a:lnTo>
                  <a:pt x="814509" y="973773"/>
                </a:lnTo>
                <a:lnTo>
                  <a:pt x="791040" y="970916"/>
                </a:lnTo>
                <a:lnTo>
                  <a:pt x="767255" y="968058"/>
                </a:lnTo>
                <a:lnTo>
                  <a:pt x="743469" y="964566"/>
                </a:lnTo>
                <a:lnTo>
                  <a:pt x="719366" y="960438"/>
                </a:lnTo>
                <a:lnTo>
                  <a:pt x="695898" y="955041"/>
                </a:lnTo>
                <a:lnTo>
                  <a:pt x="684481" y="952501"/>
                </a:lnTo>
                <a:lnTo>
                  <a:pt x="673064" y="949643"/>
                </a:lnTo>
                <a:lnTo>
                  <a:pt x="661964" y="946468"/>
                </a:lnTo>
                <a:lnTo>
                  <a:pt x="651181" y="943293"/>
                </a:lnTo>
                <a:lnTo>
                  <a:pt x="640398" y="940118"/>
                </a:lnTo>
                <a:lnTo>
                  <a:pt x="629932" y="936308"/>
                </a:lnTo>
                <a:lnTo>
                  <a:pt x="620101" y="932816"/>
                </a:lnTo>
                <a:lnTo>
                  <a:pt x="610270" y="929006"/>
                </a:lnTo>
                <a:lnTo>
                  <a:pt x="601073" y="924878"/>
                </a:lnTo>
                <a:lnTo>
                  <a:pt x="592510" y="921068"/>
                </a:lnTo>
                <a:lnTo>
                  <a:pt x="583947" y="916941"/>
                </a:lnTo>
                <a:lnTo>
                  <a:pt x="576018" y="912178"/>
                </a:lnTo>
                <a:lnTo>
                  <a:pt x="568724" y="907733"/>
                </a:lnTo>
                <a:lnTo>
                  <a:pt x="561747" y="903288"/>
                </a:lnTo>
                <a:lnTo>
                  <a:pt x="555404" y="898208"/>
                </a:lnTo>
                <a:lnTo>
                  <a:pt x="550013" y="893128"/>
                </a:lnTo>
                <a:lnTo>
                  <a:pt x="544938" y="887731"/>
                </a:lnTo>
                <a:lnTo>
                  <a:pt x="540498" y="882651"/>
                </a:lnTo>
                <a:lnTo>
                  <a:pt x="536376" y="876936"/>
                </a:lnTo>
                <a:lnTo>
                  <a:pt x="532253" y="872173"/>
                </a:lnTo>
                <a:lnTo>
                  <a:pt x="528447" y="867728"/>
                </a:lnTo>
                <a:lnTo>
                  <a:pt x="524641" y="863601"/>
                </a:lnTo>
                <a:lnTo>
                  <a:pt x="520836" y="860426"/>
                </a:lnTo>
                <a:lnTo>
                  <a:pt x="517347" y="857251"/>
                </a:lnTo>
                <a:lnTo>
                  <a:pt x="514176" y="854393"/>
                </a:lnTo>
                <a:lnTo>
                  <a:pt x="511004" y="852488"/>
                </a:lnTo>
                <a:lnTo>
                  <a:pt x="507833" y="850583"/>
                </a:lnTo>
                <a:lnTo>
                  <a:pt x="504661" y="849313"/>
                </a:lnTo>
                <a:lnTo>
                  <a:pt x="501807" y="848361"/>
                </a:lnTo>
                <a:lnTo>
                  <a:pt x="499270" y="847726"/>
                </a:lnTo>
                <a:lnTo>
                  <a:pt x="496099" y="847408"/>
                </a:lnTo>
                <a:lnTo>
                  <a:pt x="493561" y="847408"/>
                </a:lnTo>
                <a:close/>
                <a:moveTo>
                  <a:pt x="1304925" y="828675"/>
                </a:moveTo>
                <a:lnTo>
                  <a:pt x="1476375" y="828675"/>
                </a:lnTo>
                <a:lnTo>
                  <a:pt x="1476375" y="1252538"/>
                </a:lnTo>
                <a:lnTo>
                  <a:pt x="1304925" y="1252538"/>
                </a:lnTo>
                <a:lnTo>
                  <a:pt x="1304925" y="828675"/>
                </a:lnTo>
                <a:close/>
                <a:moveTo>
                  <a:pt x="634055" y="655638"/>
                </a:moveTo>
                <a:lnTo>
                  <a:pt x="641349" y="655638"/>
                </a:lnTo>
                <a:lnTo>
                  <a:pt x="648644" y="655638"/>
                </a:lnTo>
                <a:lnTo>
                  <a:pt x="655938" y="655956"/>
                </a:lnTo>
                <a:lnTo>
                  <a:pt x="662915" y="656591"/>
                </a:lnTo>
                <a:lnTo>
                  <a:pt x="669892" y="657226"/>
                </a:lnTo>
                <a:lnTo>
                  <a:pt x="677187" y="658178"/>
                </a:lnTo>
                <a:lnTo>
                  <a:pt x="684164" y="659766"/>
                </a:lnTo>
                <a:lnTo>
                  <a:pt x="691141" y="661036"/>
                </a:lnTo>
                <a:lnTo>
                  <a:pt x="698118" y="662623"/>
                </a:lnTo>
                <a:lnTo>
                  <a:pt x="704778" y="664211"/>
                </a:lnTo>
                <a:lnTo>
                  <a:pt x="711438" y="666433"/>
                </a:lnTo>
                <a:lnTo>
                  <a:pt x="718415" y="668338"/>
                </a:lnTo>
                <a:lnTo>
                  <a:pt x="724758" y="670878"/>
                </a:lnTo>
                <a:lnTo>
                  <a:pt x="731418" y="673418"/>
                </a:lnTo>
                <a:lnTo>
                  <a:pt x="737761" y="676276"/>
                </a:lnTo>
                <a:lnTo>
                  <a:pt x="744421" y="679133"/>
                </a:lnTo>
                <a:lnTo>
                  <a:pt x="750446" y="682308"/>
                </a:lnTo>
                <a:lnTo>
                  <a:pt x="763132" y="688976"/>
                </a:lnTo>
                <a:lnTo>
                  <a:pt x="775500" y="696596"/>
                </a:lnTo>
                <a:lnTo>
                  <a:pt x="787235" y="704533"/>
                </a:lnTo>
                <a:lnTo>
                  <a:pt x="798652" y="713423"/>
                </a:lnTo>
                <a:lnTo>
                  <a:pt x="809435" y="722631"/>
                </a:lnTo>
                <a:lnTo>
                  <a:pt x="819900" y="732791"/>
                </a:lnTo>
                <a:lnTo>
                  <a:pt x="830049" y="743586"/>
                </a:lnTo>
                <a:lnTo>
                  <a:pt x="839880" y="754698"/>
                </a:lnTo>
                <a:lnTo>
                  <a:pt x="849394" y="766446"/>
                </a:lnTo>
                <a:lnTo>
                  <a:pt x="858274" y="778511"/>
                </a:lnTo>
                <a:lnTo>
                  <a:pt x="866520" y="791211"/>
                </a:lnTo>
                <a:lnTo>
                  <a:pt x="874449" y="804546"/>
                </a:lnTo>
                <a:lnTo>
                  <a:pt x="881743" y="818198"/>
                </a:lnTo>
                <a:lnTo>
                  <a:pt x="888403" y="832168"/>
                </a:lnTo>
                <a:lnTo>
                  <a:pt x="894746" y="847091"/>
                </a:lnTo>
                <a:lnTo>
                  <a:pt x="900137" y="861696"/>
                </a:lnTo>
                <a:lnTo>
                  <a:pt x="905529" y="876936"/>
                </a:lnTo>
                <a:lnTo>
                  <a:pt x="909651" y="892811"/>
                </a:lnTo>
                <a:lnTo>
                  <a:pt x="913457" y="908686"/>
                </a:lnTo>
                <a:lnTo>
                  <a:pt x="916946" y="924878"/>
                </a:lnTo>
                <a:lnTo>
                  <a:pt x="919166" y="941706"/>
                </a:lnTo>
                <a:lnTo>
                  <a:pt x="921068" y="958533"/>
                </a:lnTo>
                <a:lnTo>
                  <a:pt x="922020" y="975678"/>
                </a:lnTo>
                <a:lnTo>
                  <a:pt x="922337" y="992823"/>
                </a:lnTo>
                <a:lnTo>
                  <a:pt x="922337" y="1002031"/>
                </a:lnTo>
                <a:lnTo>
                  <a:pt x="922020" y="1010921"/>
                </a:lnTo>
                <a:lnTo>
                  <a:pt x="921386" y="1019811"/>
                </a:lnTo>
                <a:lnTo>
                  <a:pt x="920434" y="1028384"/>
                </a:lnTo>
                <a:lnTo>
                  <a:pt x="919483" y="1037274"/>
                </a:lnTo>
                <a:lnTo>
                  <a:pt x="918214" y="1045846"/>
                </a:lnTo>
                <a:lnTo>
                  <a:pt x="916628" y="1054419"/>
                </a:lnTo>
                <a:lnTo>
                  <a:pt x="915043" y="1062674"/>
                </a:lnTo>
                <a:lnTo>
                  <a:pt x="912823" y="1070929"/>
                </a:lnTo>
                <a:lnTo>
                  <a:pt x="910603" y="1079501"/>
                </a:lnTo>
                <a:lnTo>
                  <a:pt x="908383" y="1087756"/>
                </a:lnTo>
                <a:lnTo>
                  <a:pt x="906163" y="1095694"/>
                </a:lnTo>
                <a:lnTo>
                  <a:pt x="903309" y="1103631"/>
                </a:lnTo>
                <a:lnTo>
                  <a:pt x="900137" y="1111569"/>
                </a:lnTo>
                <a:lnTo>
                  <a:pt x="897283" y="1119189"/>
                </a:lnTo>
                <a:lnTo>
                  <a:pt x="894111" y="1126809"/>
                </a:lnTo>
                <a:lnTo>
                  <a:pt x="887134" y="1141731"/>
                </a:lnTo>
                <a:lnTo>
                  <a:pt x="879523" y="1156336"/>
                </a:lnTo>
                <a:lnTo>
                  <a:pt x="871277" y="1170624"/>
                </a:lnTo>
                <a:lnTo>
                  <a:pt x="862714" y="1184276"/>
                </a:lnTo>
                <a:lnTo>
                  <a:pt x="853517" y="1197611"/>
                </a:lnTo>
                <a:lnTo>
                  <a:pt x="843686" y="1209994"/>
                </a:lnTo>
                <a:lnTo>
                  <a:pt x="833854" y="1222376"/>
                </a:lnTo>
                <a:lnTo>
                  <a:pt x="823389" y="1233806"/>
                </a:lnTo>
                <a:lnTo>
                  <a:pt x="812606" y="1244919"/>
                </a:lnTo>
                <a:lnTo>
                  <a:pt x="801823" y="1255396"/>
                </a:lnTo>
                <a:lnTo>
                  <a:pt x="790406" y="1265239"/>
                </a:lnTo>
                <a:lnTo>
                  <a:pt x="778989" y="1274446"/>
                </a:lnTo>
                <a:lnTo>
                  <a:pt x="767255" y="1282701"/>
                </a:lnTo>
                <a:lnTo>
                  <a:pt x="755521" y="1290956"/>
                </a:lnTo>
                <a:lnTo>
                  <a:pt x="743786" y="1298259"/>
                </a:lnTo>
                <a:lnTo>
                  <a:pt x="732052" y="1304609"/>
                </a:lnTo>
                <a:lnTo>
                  <a:pt x="720318" y="1310641"/>
                </a:lnTo>
                <a:lnTo>
                  <a:pt x="708584" y="1315721"/>
                </a:lnTo>
                <a:lnTo>
                  <a:pt x="696849" y="1320166"/>
                </a:lnTo>
                <a:lnTo>
                  <a:pt x="685432" y="1323659"/>
                </a:lnTo>
                <a:lnTo>
                  <a:pt x="674015" y="1326516"/>
                </a:lnTo>
                <a:lnTo>
                  <a:pt x="662915" y="1328421"/>
                </a:lnTo>
                <a:lnTo>
                  <a:pt x="657207" y="1329374"/>
                </a:lnTo>
                <a:lnTo>
                  <a:pt x="652132" y="1329691"/>
                </a:lnTo>
                <a:lnTo>
                  <a:pt x="646424" y="1330009"/>
                </a:lnTo>
                <a:lnTo>
                  <a:pt x="641349" y="1330326"/>
                </a:lnTo>
                <a:lnTo>
                  <a:pt x="635958" y="1330009"/>
                </a:lnTo>
                <a:lnTo>
                  <a:pt x="630884" y="1329691"/>
                </a:lnTo>
                <a:lnTo>
                  <a:pt x="625492" y="1329374"/>
                </a:lnTo>
                <a:lnTo>
                  <a:pt x="620101" y="1328421"/>
                </a:lnTo>
                <a:lnTo>
                  <a:pt x="609001" y="1326516"/>
                </a:lnTo>
                <a:lnTo>
                  <a:pt x="597584" y="1323659"/>
                </a:lnTo>
                <a:lnTo>
                  <a:pt x="585850" y="1320166"/>
                </a:lnTo>
                <a:lnTo>
                  <a:pt x="574433" y="1315721"/>
                </a:lnTo>
                <a:lnTo>
                  <a:pt x="562698" y="1310641"/>
                </a:lnTo>
                <a:lnTo>
                  <a:pt x="550647" y="1304609"/>
                </a:lnTo>
                <a:lnTo>
                  <a:pt x="538913" y="1298259"/>
                </a:lnTo>
                <a:lnTo>
                  <a:pt x="527179" y="1290956"/>
                </a:lnTo>
                <a:lnTo>
                  <a:pt x="515444" y="1282701"/>
                </a:lnTo>
                <a:lnTo>
                  <a:pt x="503710" y="1274446"/>
                </a:lnTo>
                <a:lnTo>
                  <a:pt x="492293" y="1265239"/>
                </a:lnTo>
                <a:lnTo>
                  <a:pt x="481193" y="1255396"/>
                </a:lnTo>
                <a:lnTo>
                  <a:pt x="470093" y="1244919"/>
                </a:lnTo>
                <a:lnTo>
                  <a:pt x="459310" y="1233806"/>
                </a:lnTo>
                <a:lnTo>
                  <a:pt x="448845" y="1222376"/>
                </a:lnTo>
                <a:lnTo>
                  <a:pt x="438696" y="1209994"/>
                </a:lnTo>
                <a:lnTo>
                  <a:pt x="429499" y="1197611"/>
                </a:lnTo>
                <a:lnTo>
                  <a:pt x="419985" y="1184276"/>
                </a:lnTo>
                <a:lnTo>
                  <a:pt x="411422" y="1170624"/>
                </a:lnTo>
                <a:lnTo>
                  <a:pt x="403176" y="1156336"/>
                </a:lnTo>
                <a:lnTo>
                  <a:pt x="395565" y="1141731"/>
                </a:lnTo>
                <a:lnTo>
                  <a:pt x="388588" y="1126809"/>
                </a:lnTo>
                <a:lnTo>
                  <a:pt x="385416" y="1119189"/>
                </a:lnTo>
                <a:lnTo>
                  <a:pt x="382245" y="1111569"/>
                </a:lnTo>
                <a:lnTo>
                  <a:pt x="379390" y="1103631"/>
                </a:lnTo>
                <a:lnTo>
                  <a:pt x="376853" y="1095694"/>
                </a:lnTo>
                <a:lnTo>
                  <a:pt x="374316" y="1087756"/>
                </a:lnTo>
                <a:lnTo>
                  <a:pt x="372096" y="1079501"/>
                </a:lnTo>
                <a:lnTo>
                  <a:pt x="369559" y="1070929"/>
                </a:lnTo>
                <a:lnTo>
                  <a:pt x="367656" y="1062674"/>
                </a:lnTo>
                <a:lnTo>
                  <a:pt x="366071" y="1054419"/>
                </a:lnTo>
                <a:lnTo>
                  <a:pt x="364485" y="1045846"/>
                </a:lnTo>
                <a:lnTo>
                  <a:pt x="363216" y="1037274"/>
                </a:lnTo>
                <a:lnTo>
                  <a:pt x="362265" y="1028384"/>
                </a:lnTo>
                <a:lnTo>
                  <a:pt x="361313" y="1019811"/>
                </a:lnTo>
                <a:lnTo>
                  <a:pt x="360996" y="1010921"/>
                </a:lnTo>
                <a:lnTo>
                  <a:pt x="360362" y="1002031"/>
                </a:lnTo>
                <a:lnTo>
                  <a:pt x="360362" y="992823"/>
                </a:lnTo>
                <a:lnTo>
                  <a:pt x="360679" y="975678"/>
                </a:lnTo>
                <a:lnTo>
                  <a:pt x="361948" y="958533"/>
                </a:lnTo>
                <a:lnTo>
                  <a:pt x="363533" y="941706"/>
                </a:lnTo>
                <a:lnTo>
                  <a:pt x="366071" y="924878"/>
                </a:lnTo>
                <a:lnTo>
                  <a:pt x="368925" y="908686"/>
                </a:lnTo>
                <a:lnTo>
                  <a:pt x="373048" y="892811"/>
                </a:lnTo>
                <a:lnTo>
                  <a:pt x="377171" y="876936"/>
                </a:lnTo>
                <a:lnTo>
                  <a:pt x="382245" y="861696"/>
                </a:lnTo>
                <a:lnTo>
                  <a:pt x="387953" y="847091"/>
                </a:lnTo>
                <a:lnTo>
                  <a:pt x="393979" y="832168"/>
                </a:lnTo>
                <a:lnTo>
                  <a:pt x="400956" y="818198"/>
                </a:lnTo>
                <a:lnTo>
                  <a:pt x="408568" y="804546"/>
                </a:lnTo>
                <a:lnTo>
                  <a:pt x="416179" y="791211"/>
                </a:lnTo>
                <a:lnTo>
                  <a:pt x="424425" y="778511"/>
                </a:lnTo>
                <a:lnTo>
                  <a:pt x="433305" y="766446"/>
                </a:lnTo>
                <a:lnTo>
                  <a:pt x="442819" y="754698"/>
                </a:lnTo>
                <a:lnTo>
                  <a:pt x="452650" y="743586"/>
                </a:lnTo>
                <a:lnTo>
                  <a:pt x="462482" y="732791"/>
                </a:lnTo>
                <a:lnTo>
                  <a:pt x="473264" y="722631"/>
                </a:lnTo>
                <a:lnTo>
                  <a:pt x="484047" y="713423"/>
                </a:lnTo>
                <a:lnTo>
                  <a:pt x="495464" y="704533"/>
                </a:lnTo>
                <a:lnTo>
                  <a:pt x="507516" y="696596"/>
                </a:lnTo>
                <a:lnTo>
                  <a:pt x="519567" y="688976"/>
                </a:lnTo>
                <a:lnTo>
                  <a:pt x="531936" y="682308"/>
                </a:lnTo>
                <a:lnTo>
                  <a:pt x="538278" y="679133"/>
                </a:lnTo>
                <a:lnTo>
                  <a:pt x="544938" y="676276"/>
                </a:lnTo>
                <a:lnTo>
                  <a:pt x="551281" y="673418"/>
                </a:lnTo>
                <a:lnTo>
                  <a:pt x="557941" y="670878"/>
                </a:lnTo>
                <a:lnTo>
                  <a:pt x="564284" y="668338"/>
                </a:lnTo>
                <a:lnTo>
                  <a:pt x="571261" y="666433"/>
                </a:lnTo>
                <a:lnTo>
                  <a:pt x="577921" y="664211"/>
                </a:lnTo>
                <a:lnTo>
                  <a:pt x="584898" y="662623"/>
                </a:lnTo>
                <a:lnTo>
                  <a:pt x="591875" y="661036"/>
                </a:lnTo>
                <a:lnTo>
                  <a:pt x="598535" y="659766"/>
                </a:lnTo>
                <a:lnTo>
                  <a:pt x="605830" y="658178"/>
                </a:lnTo>
                <a:lnTo>
                  <a:pt x="612490" y="657226"/>
                </a:lnTo>
                <a:lnTo>
                  <a:pt x="619784" y="656591"/>
                </a:lnTo>
                <a:lnTo>
                  <a:pt x="627078" y="655956"/>
                </a:lnTo>
                <a:lnTo>
                  <a:pt x="634055" y="655638"/>
                </a:lnTo>
                <a:close/>
                <a:moveTo>
                  <a:pt x="1604962" y="463550"/>
                </a:moveTo>
                <a:lnTo>
                  <a:pt x="1776412" y="463550"/>
                </a:lnTo>
                <a:lnTo>
                  <a:pt x="1776412" y="1252538"/>
                </a:lnTo>
                <a:lnTo>
                  <a:pt x="1604962" y="1252538"/>
                </a:lnTo>
                <a:lnTo>
                  <a:pt x="1604962" y="463550"/>
                </a:lnTo>
                <a:close/>
                <a:moveTo>
                  <a:pt x="0" y="0"/>
                </a:moveTo>
                <a:lnTo>
                  <a:pt x="2125663" y="0"/>
                </a:lnTo>
                <a:lnTo>
                  <a:pt x="2125663" y="171553"/>
                </a:lnTo>
                <a:lnTo>
                  <a:pt x="2039621" y="171553"/>
                </a:lnTo>
                <a:lnTo>
                  <a:pt x="2039621" y="1577975"/>
                </a:lnTo>
                <a:lnTo>
                  <a:pt x="1252220" y="1577975"/>
                </a:lnTo>
                <a:lnTo>
                  <a:pt x="1252220" y="1449310"/>
                </a:lnTo>
                <a:lnTo>
                  <a:pt x="1911033" y="1449310"/>
                </a:lnTo>
                <a:lnTo>
                  <a:pt x="1911033" y="171553"/>
                </a:lnTo>
                <a:lnTo>
                  <a:pt x="195263" y="171553"/>
                </a:lnTo>
                <a:lnTo>
                  <a:pt x="195263" y="1249164"/>
                </a:lnTo>
                <a:lnTo>
                  <a:pt x="66675" y="1249164"/>
                </a:lnTo>
                <a:lnTo>
                  <a:pt x="66675" y="171553"/>
                </a:lnTo>
                <a:lnTo>
                  <a:pt x="0" y="17155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anchor="ctr">
            <a:scene3d>
              <a:camera prst="orthographicFront"/>
              <a:lightRig rig="threePt" dir="t"/>
            </a:scene3d>
            <a:sp3d contourW="12700">
              <a:contourClr>
                <a:srgbClr val="FFFFFF"/>
              </a:contourClr>
            </a:sp3d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/>
              <a:ea typeface="微软雅黑" pitchFamily="34" charset="-122"/>
              <a:cs typeface="+mn-cs"/>
            </a:endParaRPr>
          </a:p>
        </p:txBody>
      </p:sp>
      <p:cxnSp>
        <p:nvCxnSpPr>
          <p:cNvPr id="31" name="直接连接符 14"/>
          <p:cNvCxnSpPr>
            <a:cxnSpLocks/>
          </p:cNvCxnSpPr>
          <p:nvPr/>
        </p:nvCxnSpPr>
        <p:spPr>
          <a:xfrm flipV="1">
            <a:off x="1597446" y="1576435"/>
            <a:ext cx="6897" cy="814225"/>
          </a:xfrm>
          <a:prstGeom prst="line">
            <a:avLst/>
          </a:prstGeom>
          <a:ln w="12700">
            <a:solidFill>
              <a:srgbClr val="3333F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1748359" y="1576435"/>
            <a:ext cx="47302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ea typeface="Times New Roman" pitchFamily="18" charset="0"/>
                <a:cs typeface="Arial" pitchFamily="34" charset="0"/>
              </a:rPr>
              <a:t>   28 регионов Российской Федерации</a:t>
            </a:r>
            <a:endParaRPr lang="ru-RU" b="1" dirty="0">
              <a:solidFill>
                <a:schemeClr val="accent1">
                  <a:lumMod val="75000"/>
                </a:schemeClr>
              </a:solidFill>
              <a:cs typeface="Arial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1748359" y="2008483"/>
            <a:ext cx="104436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ea typeface="Times New Roman" pitchFamily="18" charset="0"/>
                <a:cs typeface="Arial" pitchFamily="34" charset="0"/>
              </a:rPr>
              <a:t>  184 специалиста из учреждений социальной защиты, образования и здравоохранения</a:t>
            </a:r>
            <a:endParaRPr lang="ru-RU" b="1" dirty="0">
              <a:solidFill>
                <a:schemeClr val="accent1">
                  <a:lumMod val="75000"/>
                </a:scheme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70556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FC96DA1A-4EF2-FB00-401D-D85E39A3C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217" y="363107"/>
            <a:ext cx="10515600" cy="931222"/>
          </a:xfrm>
        </p:spPr>
        <p:txBody>
          <a:bodyPr anchor="t">
            <a:normAutofit fontScale="90000"/>
          </a:bodyPr>
          <a:lstStyle/>
          <a:p>
            <a:r>
              <a:rPr lang="ru-RU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Практическая составляющая стажировочной площадки «Выездной </a:t>
            </a:r>
            <a:r>
              <a:rPr lang="ru-RU" dirty="0" err="1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микрореабилитационный</a:t>
            </a:r>
            <a:r>
              <a:rPr lang="ru-RU" dirty="0" smtClean="0">
                <a:solidFill>
                  <a:srgbClr val="002060"/>
                </a:solidFill>
                <a:latin typeface="Calibri" panose="020F0502020204030204" pitchFamily="34" charset="0"/>
                <a:ea typeface="Apple Symbols" panose="02000000000000000000" pitchFamily="2" charset="-79"/>
                <a:cs typeface="Calibri" panose="020F0502020204030204" pitchFamily="34" charset="0"/>
              </a:rPr>
              <a:t> центр» </a:t>
            </a:r>
            <a:endParaRPr lang="ru-RU" dirty="0"/>
          </a:p>
        </p:txBody>
      </p:sp>
      <p:sp>
        <p:nvSpPr>
          <p:cNvPr id="3" name="Текст 15">
            <a:extLst>
              <a:ext uri="{FF2B5EF4-FFF2-40B4-BE49-F238E27FC236}">
                <a16:creationId xmlns="" xmlns:a16="http://schemas.microsoft.com/office/drawing/2014/main" id="{F3B07FBE-5BD2-3D04-FE8F-5B021FAEA1D6}"/>
              </a:ext>
            </a:extLst>
          </p:cNvPr>
          <p:cNvSpPr txBox="1">
            <a:spLocks/>
          </p:cNvSpPr>
          <p:nvPr/>
        </p:nvSpPr>
        <p:spPr>
          <a:xfrm>
            <a:off x="836611" y="5989605"/>
            <a:ext cx="469675" cy="3568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smtClean="0">
                <a:solidFill>
                  <a:srgbClr val="002060"/>
                </a:solidFill>
              </a:rPr>
              <a:t>08</a:t>
            </a:r>
            <a:endParaRPr lang="ru-RU" sz="2000" dirty="0">
              <a:solidFill>
                <a:srgbClr val="002060"/>
              </a:solidFill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6F16AFE5-8C6F-8CBB-BA83-0884BBB557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7417" y="0"/>
            <a:ext cx="164432" cy="6858000"/>
          </a:xfrm>
          <a:prstGeom prst="rect">
            <a:avLst/>
          </a:prstGeom>
        </p:spPr>
      </p:pic>
      <p:pic>
        <p:nvPicPr>
          <p:cNvPr id="14" name="Picture 1" descr="D:\общая\обложка блокнот на форум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496365" y="1269557"/>
            <a:ext cx="2810007" cy="39744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Freeform 6"/>
          <p:cNvSpPr>
            <a:spLocks/>
          </p:cNvSpPr>
          <p:nvPr/>
        </p:nvSpPr>
        <p:spPr bwMode="auto">
          <a:xfrm>
            <a:off x="1324927" y="1323845"/>
            <a:ext cx="287052" cy="301276"/>
          </a:xfrm>
          <a:custGeom>
            <a:avLst/>
            <a:gdLst>
              <a:gd name="T0" fmla="*/ 134 w 134"/>
              <a:gd name="T1" fmla="*/ 36 h 135"/>
              <a:gd name="T2" fmla="*/ 134 w 134"/>
              <a:gd name="T3" fmla="*/ 98 h 135"/>
              <a:gd name="T4" fmla="*/ 98 w 134"/>
              <a:gd name="T5" fmla="*/ 135 h 135"/>
              <a:gd name="T6" fmla="*/ 36 w 134"/>
              <a:gd name="T7" fmla="*/ 135 h 135"/>
              <a:gd name="T8" fmla="*/ 0 w 134"/>
              <a:gd name="T9" fmla="*/ 98 h 135"/>
              <a:gd name="T10" fmla="*/ 0 w 134"/>
              <a:gd name="T11" fmla="*/ 36 h 135"/>
              <a:gd name="T12" fmla="*/ 36 w 134"/>
              <a:gd name="T13" fmla="*/ 0 h 135"/>
              <a:gd name="T14" fmla="*/ 134 w 134"/>
              <a:gd name="T15" fmla="*/ 0 h 135"/>
              <a:gd name="T16" fmla="*/ 134 w 134"/>
              <a:gd name="T17" fmla="*/ 36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4" h="135">
                <a:moveTo>
                  <a:pt x="134" y="36"/>
                </a:moveTo>
                <a:cubicBezTo>
                  <a:pt x="134" y="98"/>
                  <a:pt x="134" y="98"/>
                  <a:pt x="134" y="98"/>
                </a:cubicBezTo>
                <a:cubicBezTo>
                  <a:pt x="134" y="118"/>
                  <a:pt x="118" y="135"/>
                  <a:pt x="98" y="135"/>
                </a:cubicBezTo>
                <a:cubicBezTo>
                  <a:pt x="36" y="135"/>
                  <a:pt x="36" y="135"/>
                  <a:pt x="36" y="135"/>
                </a:cubicBezTo>
                <a:cubicBezTo>
                  <a:pt x="16" y="135"/>
                  <a:pt x="0" y="118"/>
                  <a:pt x="0" y="98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134" y="0"/>
                  <a:pt x="134" y="0"/>
                  <a:pt x="134" y="0"/>
                </a:cubicBezTo>
                <a:lnTo>
                  <a:pt x="134" y="3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  <a:extLst/>
        </p:spPr>
        <p:txBody>
          <a:bodyPr/>
          <a:lstStyle/>
          <a:p>
            <a:pPr defTabSz="816337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4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16" name="Freeform 13"/>
          <p:cNvSpPr>
            <a:spLocks/>
          </p:cNvSpPr>
          <p:nvPr/>
        </p:nvSpPr>
        <p:spPr bwMode="auto">
          <a:xfrm>
            <a:off x="1323947" y="1827900"/>
            <a:ext cx="289778" cy="301276"/>
          </a:xfrm>
          <a:custGeom>
            <a:avLst/>
            <a:gdLst>
              <a:gd name="T0" fmla="*/ 135 w 135"/>
              <a:gd name="T1" fmla="*/ 36 h 135"/>
              <a:gd name="T2" fmla="*/ 135 w 135"/>
              <a:gd name="T3" fmla="*/ 98 h 135"/>
              <a:gd name="T4" fmla="*/ 98 w 135"/>
              <a:gd name="T5" fmla="*/ 135 h 135"/>
              <a:gd name="T6" fmla="*/ 37 w 135"/>
              <a:gd name="T7" fmla="*/ 135 h 135"/>
              <a:gd name="T8" fmla="*/ 0 w 135"/>
              <a:gd name="T9" fmla="*/ 98 h 135"/>
              <a:gd name="T10" fmla="*/ 0 w 135"/>
              <a:gd name="T11" fmla="*/ 36 h 135"/>
              <a:gd name="T12" fmla="*/ 37 w 135"/>
              <a:gd name="T13" fmla="*/ 0 h 135"/>
              <a:gd name="T14" fmla="*/ 135 w 135"/>
              <a:gd name="T15" fmla="*/ 0 h 135"/>
              <a:gd name="T16" fmla="*/ 135 w 135"/>
              <a:gd name="T17" fmla="*/ 36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5" h="135">
                <a:moveTo>
                  <a:pt x="135" y="36"/>
                </a:moveTo>
                <a:cubicBezTo>
                  <a:pt x="135" y="98"/>
                  <a:pt x="135" y="98"/>
                  <a:pt x="135" y="98"/>
                </a:cubicBezTo>
                <a:cubicBezTo>
                  <a:pt x="135" y="118"/>
                  <a:pt x="118" y="135"/>
                  <a:pt x="98" y="135"/>
                </a:cubicBezTo>
                <a:cubicBezTo>
                  <a:pt x="37" y="135"/>
                  <a:pt x="37" y="135"/>
                  <a:pt x="37" y="135"/>
                </a:cubicBezTo>
                <a:cubicBezTo>
                  <a:pt x="16" y="135"/>
                  <a:pt x="0" y="118"/>
                  <a:pt x="0" y="98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16"/>
                  <a:pt x="16" y="0"/>
                  <a:pt x="37" y="0"/>
                </a:cubicBezTo>
                <a:cubicBezTo>
                  <a:pt x="135" y="0"/>
                  <a:pt x="135" y="0"/>
                  <a:pt x="135" y="0"/>
                </a:cubicBezTo>
                <a:lnTo>
                  <a:pt x="135" y="36"/>
                </a:lnTo>
                <a:close/>
              </a:path>
            </a:pathLst>
          </a:custGeom>
          <a:solidFill>
            <a:srgbClr val="003399"/>
          </a:solidFill>
          <a:ln>
            <a:noFill/>
          </a:ln>
          <a:extLst/>
        </p:spPr>
        <p:txBody>
          <a:bodyPr/>
          <a:lstStyle/>
          <a:p>
            <a:pPr defTabSz="816337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4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17" name="Freeform 21"/>
          <p:cNvSpPr>
            <a:spLocks/>
          </p:cNvSpPr>
          <p:nvPr/>
        </p:nvSpPr>
        <p:spPr bwMode="auto">
          <a:xfrm>
            <a:off x="1323947" y="2259948"/>
            <a:ext cx="287052" cy="301276"/>
          </a:xfrm>
          <a:custGeom>
            <a:avLst/>
            <a:gdLst>
              <a:gd name="T0" fmla="*/ 134 w 134"/>
              <a:gd name="T1" fmla="*/ 37 h 135"/>
              <a:gd name="T2" fmla="*/ 134 w 134"/>
              <a:gd name="T3" fmla="*/ 98 h 135"/>
              <a:gd name="T4" fmla="*/ 98 w 134"/>
              <a:gd name="T5" fmla="*/ 135 h 135"/>
              <a:gd name="T6" fmla="*/ 36 w 134"/>
              <a:gd name="T7" fmla="*/ 135 h 135"/>
              <a:gd name="T8" fmla="*/ 0 w 134"/>
              <a:gd name="T9" fmla="*/ 98 h 135"/>
              <a:gd name="T10" fmla="*/ 0 w 134"/>
              <a:gd name="T11" fmla="*/ 37 h 135"/>
              <a:gd name="T12" fmla="*/ 36 w 134"/>
              <a:gd name="T13" fmla="*/ 0 h 135"/>
              <a:gd name="T14" fmla="*/ 134 w 134"/>
              <a:gd name="T15" fmla="*/ 0 h 135"/>
              <a:gd name="T16" fmla="*/ 134 w 134"/>
              <a:gd name="T17" fmla="*/ 37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4" h="135">
                <a:moveTo>
                  <a:pt x="134" y="37"/>
                </a:moveTo>
                <a:cubicBezTo>
                  <a:pt x="134" y="98"/>
                  <a:pt x="134" y="98"/>
                  <a:pt x="134" y="98"/>
                </a:cubicBezTo>
                <a:cubicBezTo>
                  <a:pt x="134" y="118"/>
                  <a:pt x="118" y="135"/>
                  <a:pt x="98" y="135"/>
                </a:cubicBezTo>
                <a:cubicBezTo>
                  <a:pt x="36" y="135"/>
                  <a:pt x="36" y="135"/>
                  <a:pt x="36" y="135"/>
                </a:cubicBezTo>
                <a:cubicBezTo>
                  <a:pt x="16" y="135"/>
                  <a:pt x="0" y="118"/>
                  <a:pt x="0" y="98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16"/>
                  <a:pt x="16" y="0"/>
                  <a:pt x="36" y="0"/>
                </a:cubicBezTo>
                <a:cubicBezTo>
                  <a:pt x="134" y="0"/>
                  <a:pt x="134" y="0"/>
                  <a:pt x="134" y="0"/>
                </a:cubicBezTo>
                <a:lnTo>
                  <a:pt x="134" y="37"/>
                </a:lnTo>
                <a:close/>
              </a:path>
            </a:pathLst>
          </a:custGeom>
          <a:solidFill>
            <a:srgbClr val="0033CC"/>
          </a:solidFill>
          <a:ln>
            <a:noFill/>
          </a:ln>
          <a:extLst/>
        </p:spPr>
        <p:txBody>
          <a:bodyPr/>
          <a:lstStyle/>
          <a:p>
            <a:pPr defTabSz="816337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4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18" name="Freeform 29"/>
          <p:cNvSpPr>
            <a:spLocks/>
          </p:cNvSpPr>
          <p:nvPr/>
        </p:nvSpPr>
        <p:spPr bwMode="auto">
          <a:xfrm>
            <a:off x="1323947" y="2764004"/>
            <a:ext cx="289778" cy="301276"/>
          </a:xfrm>
          <a:custGeom>
            <a:avLst/>
            <a:gdLst>
              <a:gd name="T0" fmla="*/ 135 w 135"/>
              <a:gd name="T1" fmla="*/ 36 h 135"/>
              <a:gd name="T2" fmla="*/ 135 w 135"/>
              <a:gd name="T3" fmla="*/ 98 h 135"/>
              <a:gd name="T4" fmla="*/ 98 w 135"/>
              <a:gd name="T5" fmla="*/ 135 h 135"/>
              <a:gd name="T6" fmla="*/ 36 w 135"/>
              <a:gd name="T7" fmla="*/ 135 h 135"/>
              <a:gd name="T8" fmla="*/ 0 w 135"/>
              <a:gd name="T9" fmla="*/ 98 h 135"/>
              <a:gd name="T10" fmla="*/ 0 w 135"/>
              <a:gd name="T11" fmla="*/ 36 h 135"/>
              <a:gd name="T12" fmla="*/ 36 w 135"/>
              <a:gd name="T13" fmla="*/ 0 h 135"/>
              <a:gd name="T14" fmla="*/ 135 w 135"/>
              <a:gd name="T15" fmla="*/ 0 h 135"/>
              <a:gd name="T16" fmla="*/ 135 w 135"/>
              <a:gd name="T17" fmla="*/ 36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5" h="135">
                <a:moveTo>
                  <a:pt x="135" y="36"/>
                </a:moveTo>
                <a:cubicBezTo>
                  <a:pt x="135" y="98"/>
                  <a:pt x="135" y="98"/>
                  <a:pt x="135" y="98"/>
                </a:cubicBezTo>
                <a:cubicBezTo>
                  <a:pt x="135" y="118"/>
                  <a:pt x="118" y="135"/>
                  <a:pt x="98" y="135"/>
                </a:cubicBezTo>
                <a:cubicBezTo>
                  <a:pt x="36" y="135"/>
                  <a:pt x="36" y="135"/>
                  <a:pt x="36" y="135"/>
                </a:cubicBezTo>
                <a:cubicBezTo>
                  <a:pt x="16" y="135"/>
                  <a:pt x="0" y="118"/>
                  <a:pt x="0" y="98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135" y="0"/>
                  <a:pt x="135" y="0"/>
                  <a:pt x="135" y="0"/>
                </a:cubicBezTo>
                <a:lnTo>
                  <a:pt x="135" y="36"/>
                </a:lnTo>
                <a:close/>
              </a:path>
            </a:pathLst>
          </a:custGeom>
          <a:solidFill>
            <a:srgbClr val="0000FF"/>
          </a:solidFill>
          <a:ln>
            <a:noFill/>
          </a:ln>
          <a:extLst/>
        </p:spPr>
        <p:txBody>
          <a:bodyPr/>
          <a:lstStyle/>
          <a:p>
            <a:pPr defTabSz="816337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4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19" name="Text Box 11"/>
          <p:cNvSpPr txBox="1">
            <a:spLocks noChangeArrowheads="1"/>
          </p:cNvSpPr>
          <p:nvPr/>
        </p:nvSpPr>
        <p:spPr bwMode="auto">
          <a:xfrm>
            <a:off x="1828003" y="1255924"/>
            <a:ext cx="5993974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600" dirty="0" smtClean="0">
                <a:solidFill>
                  <a:srgbClr val="00478E"/>
                </a:solidFill>
              </a:rPr>
              <a:t>Артикуляционная гимнастика – основа правильного звукопроизношения</a:t>
            </a:r>
          </a:p>
        </p:txBody>
      </p:sp>
      <p:sp>
        <p:nvSpPr>
          <p:cNvPr id="20" name="Text Box 11"/>
          <p:cNvSpPr txBox="1">
            <a:spLocks noChangeArrowheads="1"/>
          </p:cNvSpPr>
          <p:nvPr/>
        </p:nvSpPr>
        <p:spPr bwMode="auto">
          <a:xfrm>
            <a:off x="1828003" y="1805434"/>
            <a:ext cx="5327650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600" dirty="0" smtClean="0">
                <a:solidFill>
                  <a:srgbClr val="00478E"/>
                </a:solidFill>
              </a:rPr>
              <a:t>Если малыш особый… </a:t>
            </a:r>
            <a:endParaRPr lang="ru-RU" sz="1600" dirty="0">
              <a:solidFill>
                <a:srgbClr val="00478E"/>
              </a:solidFill>
            </a:endParaRPr>
          </a:p>
        </p:txBody>
      </p:sp>
      <p:sp>
        <p:nvSpPr>
          <p:cNvPr id="21" name="Text Box 11"/>
          <p:cNvSpPr txBox="1">
            <a:spLocks noChangeArrowheads="1"/>
          </p:cNvSpPr>
          <p:nvPr/>
        </p:nvSpPr>
        <p:spPr bwMode="auto">
          <a:xfrm>
            <a:off x="1828003" y="2254770"/>
            <a:ext cx="5462588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600" dirty="0" smtClean="0">
                <a:solidFill>
                  <a:srgbClr val="00478E"/>
                </a:solidFill>
              </a:rPr>
              <a:t>Играем с </a:t>
            </a:r>
            <a:r>
              <a:rPr lang="ru-RU" sz="1600" dirty="0" err="1" smtClean="0">
                <a:solidFill>
                  <a:srgbClr val="00478E"/>
                </a:solidFill>
              </a:rPr>
              <a:t>неговорящим</a:t>
            </a:r>
            <a:r>
              <a:rPr lang="ru-RU" sz="1600" dirty="0" smtClean="0">
                <a:solidFill>
                  <a:srgbClr val="00478E"/>
                </a:solidFill>
              </a:rPr>
              <a:t> ребенком</a:t>
            </a:r>
            <a:endParaRPr lang="ru-RU" altLang="zh-CN" sz="1600" dirty="0">
              <a:solidFill>
                <a:srgbClr val="00478E"/>
              </a:solidFill>
            </a:endParaRPr>
          </a:p>
        </p:txBody>
      </p:sp>
      <p:sp>
        <p:nvSpPr>
          <p:cNvPr id="22" name="Text Box 11"/>
          <p:cNvSpPr txBox="1">
            <a:spLocks noChangeArrowheads="1"/>
          </p:cNvSpPr>
          <p:nvPr/>
        </p:nvSpPr>
        <p:spPr bwMode="auto">
          <a:xfrm>
            <a:off x="1828003" y="2704106"/>
            <a:ext cx="5354638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16337">
              <a:lnSpc>
                <a:spcPct val="90000"/>
              </a:lnSpc>
              <a:defRPr/>
            </a:pPr>
            <a:r>
              <a:rPr lang="ru-RU" sz="1600" dirty="0" smtClean="0">
                <a:solidFill>
                  <a:srgbClr val="00478E"/>
                </a:solidFill>
              </a:rPr>
              <a:t>Игры для снятия эмоционального напряжения</a:t>
            </a:r>
            <a:endParaRPr lang="ru-RU" altLang="zh-CN" sz="1600" dirty="0">
              <a:solidFill>
                <a:srgbClr val="00478E"/>
              </a:solidFill>
            </a:endParaRPr>
          </a:p>
        </p:txBody>
      </p:sp>
      <p:sp>
        <p:nvSpPr>
          <p:cNvPr id="23" name="Freeform 29"/>
          <p:cNvSpPr>
            <a:spLocks/>
          </p:cNvSpPr>
          <p:nvPr/>
        </p:nvSpPr>
        <p:spPr bwMode="auto">
          <a:xfrm>
            <a:off x="1323947" y="3196052"/>
            <a:ext cx="289778" cy="301276"/>
          </a:xfrm>
          <a:custGeom>
            <a:avLst/>
            <a:gdLst>
              <a:gd name="T0" fmla="*/ 135 w 135"/>
              <a:gd name="T1" fmla="*/ 36 h 135"/>
              <a:gd name="T2" fmla="*/ 135 w 135"/>
              <a:gd name="T3" fmla="*/ 98 h 135"/>
              <a:gd name="T4" fmla="*/ 98 w 135"/>
              <a:gd name="T5" fmla="*/ 135 h 135"/>
              <a:gd name="T6" fmla="*/ 36 w 135"/>
              <a:gd name="T7" fmla="*/ 135 h 135"/>
              <a:gd name="T8" fmla="*/ 0 w 135"/>
              <a:gd name="T9" fmla="*/ 98 h 135"/>
              <a:gd name="T10" fmla="*/ 0 w 135"/>
              <a:gd name="T11" fmla="*/ 36 h 135"/>
              <a:gd name="T12" fmla="*/ 36 w 135"/>
              <a:gd name="T13" fmla="*/ 0 h 135"/>
              <a:gd name="T14" fmla="*/ 135 w 135"/>
              <a:gd name="T15" fmla="*/ 0 h 135"/>
              <a:gd name="T16" fmla="*/ 135 w 135"/>
              <a:gd name="T17" fmla="*/ 36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5" h="135">
                <a:moveTo>
                  <a:pt x="135" y="36"/>
                </a:moveTo>
                <a:cubicBezTo>
                  <a:pt x="135" y="98"/>
                  <a:pt x="135" y="98"/>
                  <a:pt x="135" y="98"/>
                </a:cubicBezTo>
                <a:cubicBezTo>
                  <a:pt x="135" y="118"/>
                  <a:pt x="118" y="135"/>
                  <a:pt x="98" y="135"/>
                </a:cubicBezTo>
                <a:cubicBezTo>
                  <a:pt x="36" y="135"/>
                  <a:pt x="36" y="135"/>
                  <a:pt x="36" y="135"/>
                </a:cubicBezTo>
                <a:cubicBezTo>
                  <a:pt x="16" y="135"/>
                  <a:pt x="0" y="118"/>
                  <a:pt x="0" y="98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135" y="0"/>
                  <a:pt x="135" y="0"/>
                  <a:pt x="135" y="0"/>
                </a:cubicBezTo>
                <a:lnTo>
                  <a:pt x="135" y="36"/>
                </a:lnTo>
                <a:close/>
              </a:path>
            </a:pathLst>
          </a:custGeom>
          <a:solidFill>
            <a:srgbClr val="3366FF"/>
          </a:solidFill>
          <a:ln>
            <a:noFill/>
          </a:ln>
          <a:extLst/>
        </p:spPr>
        <p:txBody>
          <a:bodyPr/>
          <a:lstStyle/>
          <a:p>
            <a:pPr defTabSz="816337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4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24" name="Text Box 11"/>
          <p:cNvSpPr txBox="1">
            <a:spLocks noChangeArrowheads="1"/>
          </p:cNvSpPr>
          <p:nvPr/>
        </p:nvSpPr>
        <p:spPr bwMode="auto">
          <a:xfrm>
            <a:off x="1828003" y="3153442"/>
            <a:ext cx="5354638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16337">
              <a:lnSpc>
                <a:spcPct val="90000"/>
              </a:lnSpc>
              <a:defRPr/>
            </a:pPr>
            <a:r>
              <a:rPr lang="ru-RU" sz="1600" dirty="0" err="1" smtClean="0">
                <a:solidFill>
                  <a:srgbClr val="00478E"/>
                </a:solidFill>
              </a:rPr>
              <a:t>Самоподдержка</a:t>
            </a:r>
            <a:r>
              <a:rPr lang="ru-RU" sz="1600" dirty="0" smtClean="0">
                <a:solidFill>
                  <a:srgbClr val="00478E"/>
                </a:solidFill>
              </a:rPr>
              <a:t> и самопомощь</a:t>
            </a:r>
            <a:endParaRPr lang="ru-RU" altLang="zh-CN" sz="1600" dirty="0">
              <a:solidFill>
                <a:srgbClr val="00478E"/>
              </a:solidFill>
            </a:endParaRPr>
          </a:p>
        </p:txBody>
      </p:sp>
      <p:sp>
        <p:nvSpPr>
          <p:cNvPr id="25" name="Freeform 29"/>
          <p:cNvSpPr>
            <a:spLocks/>
          </p:cNvSpPr>
          <p:nvPr/>
        </p:nvSpPr>
        <p:spPr bwMode="auto">
          <a:xfrm>
            <a:off x="1323947" y="3628100"/>
            <a:ext cx="289778" cy="301276"/>
          </a:xfrm>
          <a:custGeom>
            <a:avLst/>
            <a:gdLst>
              <a:gd name="T0" fmla="*/ 135 w 135"/>
              <a:gd name="T1" fmla="*/ 36 h 135"/>
              <a:gd name="T2" fmla="*/ 135 w 135"/>
              <a:gd name="T3" fmla="*/ 98 h 135"/>
              <a:gd name="T4" fmla="*/ 98 w 135"/>
              <a:gd name="T5" fmla="*/ 135 h 135"/>
              <a:gd name="T6" fmla="*/ 36 w 135"/>
              <a:gd name="T7" fmla="*/ 135 h 135"/>
              <a:gd name="T8" fmla="*/ 0 w 135"/>
              <a:gd name="T9" fmla="*/ 98 h 135"/>
              <a:gd name="T10" fmla="*/ 0 w 135"/>
              <a:gd name="T11" fmla="*/ 36 h 135"/>
              <a:gd name="T12" fmla="*/ 36 w 135"/>
              <a:gd name="T13" fmla="*/ 0 h 135"/>
              <a:gd name="T14" fmla="*/ 135 w 135"/>
              <a:gd name="T15" fmla="*/ 0 h 135"/>
              <a:gd name="T16" fmla="*/ 135 w 135"/>
              <a:gd name="T17" fmla="*/ 36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5" h="135">
                <a:moveTo>
                  <a:pt x="135" y="36"/>
                </a:moveTo>
                <a:cubicBezTo>
                  <a:pt x="135" y="98"/>
                  <a:pt x="135" y="98"/>
                  <a:pt x="135" y="98"/>
                </a:cubicBezTo>
                <a:cubicBezTo>
                  <a:pt x="135" y="118"/>
                  <a:pt x="118" y="135"/>
                  <a:pt x="98" y="135"/>
                </a:cubicBezTo>
                <a:cubicBezTo>
                  <a:pt x="36" y="135"/>
                  <a:pt x="36" y="135"/>
                  <a:pt x="36" y="135"/>
                </a:cubicBezTo>
                <a:cubicBezTo>
                  <a:pt x="16" y="135"/>
                  <a:pt x="0" y="118"/>
                  <a:pt x="0" y="98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135" y="0"/>
                  <a:pt x="135" y="0"/>
                  <a:pt x="135" y="0"/>
                </a:cubicBezTo>
                <a:lnTo>
                  <a:pt x="135" y="36"/>
                </a:lnTo>
                <a:close/>
              </a:path>
            </a:pathLst>
          </a:custGeom>
          <a:solidFill>
            <a:srgbClr val="0099FF"/>
          </a:solidFill>
          <a:ln>
            <a:noFill/>
          </a:ln>
          <a:extLst/>
        </p:spPr>
        <p:txBody>
          <a:bodyPr/>
          <a:lstStyle/>
          <a:p>
            <a:pPr defTabSz="816337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4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26" name="Text Box 11"/>
          <p:cNvSpPr txBox="1">
            <a:spLocks noChangeArrowheads="1"/>
          </p:cNvSpPr>
          <p:nvPr/>
        </p:nvSpPr>
        <p:spPr bwMode="auto">
          <a:xfrm>
            <a:off x="1828003" y="3602778"/>
            <a:ext cx="5354638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16337">
              <a:lnSpc>
                <a:spcPct val="90000"/>
              </a:lnSpc>
              <a:defRPr/>
            </a:pPr>
            <a:r>
              <a:rPr lang="ru-RU" sz="1600" dirty="0" smtClean="0">
                <a:solidFill>
                  <a:srgbClr val="00478E"/>
                </a:solidFill>
              </a:rPr>
              <a:t>Игры на развитие мелкой моторики дома </a:t>
            </a:r>
            <a:endParaRPr lang="ru-RU" altLang="zh-CN" sz="1600" dirty="0">
              <a:solidFill>
                <a:srgbClr val="00478E"/>
              </a:solidFill>
            </a:endParaRPr>
          </a:p>
        </p:txBody>
      </p:sp>
      <p:sp>
        <p:nvSpPr>
          <p:cNvPr id="27" name="Freeform 29"/>
          <p:cNvSpPr>
            <a:spLocks/>
          </p:cNvSpPr>
          <p:nvPr/>
        </p:nvSpPr>
        <p:spPr bwMode="auto">
          <a:xfrm>
            <a:off x="1323947" y="4060148"/>
            <a:ext cx="289778" cy="301276"/>
          </a:xfrm>
          <a:custGeom>
            <a:avLst/>
            <a:gdLst>
              <a:gd name="T0" fmla="*/ 135 w 135"/>
              <a:gd name="T1" fmla="*/ 36 h 135"/>
              <a:gd name="T2" fmla="*/ 135 w 135"/>
              <a:gd name="T3" fmla="*/ 98 h 135"/>
              <a:gd name="T4" fmla="*/ 98 w 135"/>
              <a:gd name="T5" fmla="*/ 135 h 135"/>
              <a:gd name="T6" fmla="*/ 36 w 135"/>
              <a:gd name="T7" fmla="*/ 135 h 135"/>
              <a:gd name="T8" fmla="*/ 0 w 135"/>
              <a:gd name="T9" fmla="*/ 98 h 135"/>
              <a:gd name="T10" fmla="*/ 0 w 135"/>
              <a:gd name="T11" fmla="*/ 36 h 135"/>
              <a:gd name="T12" fmla="*/ 36 w 135"/>
              <a:gd name="T13" fmla="*/ 0 h 135"/>
              <a:gd name="T14" fmla="*/ 135 w 135"/>
              <a:gd name="T15" fmla="*/ 0 h 135"/>
              <a:gd name="T16" fmla="*/ 135 w 135"/>
              <a:gd name="T17" fmla="*/ 36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5" h="135">
                <a:moveTo>
                  <a:pt x="135" y="36"/>
                </a:moveTo>
                <a:cubicBezTo>
                  <a:pt x="135" y="98"/>
                  <a:pt x="135" y="98"/>
                  <a:pt x="135" y="98"/>
                </a:cubicBezTo>
                <a:cubicBezTo>
                  <a:pt x="135" y="118"/>
                  <a:pt x="118" y="135"/>
                  <a:pt x="98" y="135"/>
                </a:cubicBezTo>
                <a:cubicBezTo>
                  <a:pt x="36" y="135"/>
                  <a:pt x="36" y="135"/>
                  <a:pt x="36" y="135"/>
                </a:cubicBezTo>
                <a:cubicBezTo>
                  <a:pt x="16" y="135"/>
                  <a:pt x="0" y="118"/>
                  <a:pt x="0" y="98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135" y="0"/>
                  <a:pt x="135" y="0"/>
                  <a:pt x="135" y="0"/>
                </a:cubicBezTo>
                <a:lnTo>
                  <a:pt x="135" y="36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xtLst/>
        </p:spPr>
        <p:txBody>
          <a:bodyPr/>
          <a:lstStyle/>
          <a:p>
            <a:pPr defTabSz="816337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4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28" name="Text Box 11"/>
          <p:cNvSpPr txBox="1">
            <a:spLocks noChangeArrowheads="1"/>
          </p:cNvSpPr>
          <p:nvPr/>
        </p:nvSpPr>
        <p:spPr bwMode="auto">
          <a:xfrm>
            <a:off x="1828003" y="4052114"/>
            <a:ext cx="5354638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16337">
              <a:lnSpc>
                <a:spcPct val="90000"/>
              </a:lnSpc>
              <a:defRPr/>
            </a:pPr>
            <a:r>
              <a:rPr lang="ru-RU" sz="1600" dirty="0" smtClean="0">
                <a:solidFill>
                  <a:srgbClr val="00478E"/>
                </a:solidFill>
              </a:rPr>
              <a:t>Развитие речевого дыхания</a:t>
            </a:r>
            <a:endParaRPr lang="ru-RU" altLang="zh-CN" sz="1600" dirty="0">
              <a:solidFill>
                <a:srgbClr val="00478E"/>
              </a:solidFill>
            </a:endParaRPr>
          </a:p>
        </p:txBody>
      </p:sp>
      <p:sp>
        <p:nvSpPr>
          <p:cNvPr id="29" name="Freeform 21"/>
          <p:cNvSpPr>
            <a:spLocks/>
          </p:cNvSpPr>
          <p:nvPr/>
        </p:nvSpPr>
        <p:spPr bwMode="auto">
          <a:xfrm>
            <a:off x="1323947" y="4564204"/>
            <a:ext cx="287052" cy="301276"/>
          </a:xfrm>
          <a:custGeom>
            <a:avLst/>
            <a:gdLst>
              <a:gd name="T0" fmla="*/ 134 w 134"/>
              <a:gd name="T1" fmla="*/ 37 h 135"/>
              <a:gd name="T2" fmla="*/ 134 w 134"/>
              <a:gd name="T3" fmla="*/ 98 h 135"/>
              <a:gd name="T4" fmla="*/ 98 w 134"/>
              <a:gd name="T5" fmla="*/ 135 h 135"/>
              <a:gd name="T6" fmla="*/ 36 w 134"/>
              <a:gd name="T7" fmla="*/ 135 h 135"/>
              <a:gd name="T8" fmla="*/ 0 w 134"/>
              <a:gd name="T9" fmla="*/ 98 h 135"/>
              <a:gd name="T10" fmla="*/ 0 w 134"/>
              <a:gd name="T11" fmla="*/ 37 h 135"/>
              <a:gd name="T12" fmla="*/ 36 w 134"/>
              <a:gd name="T13" fmla="*/ 0 h 135"/>
              <a:gd name="T14" fmla="*/ 134 w 134"/>
              <a:gd name="T15" fmla="*/ 0 h 135"/>
              <a:gd name="T16" fmla="*/ 134 w 134"/>
              <a:gd name="T17" fmla="*/ 37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4" h="135">
                <a:moveTo>
                  <a:pt x="134" y="37"/>
                </a:moveTo>
                <a:cubicBezTo>
                  <a:pt x="134" y="98"/>
                  <a:pt x="134" y="98"/>
                  <a:pt x="134" y="98"/>
                </a:cubicBezTo>
                <a:cubicBezTo>
                  <a:pt x="134" y="118"/>
                  <a:pt x="118" y="135"/>
                  <a:pt x="98" y="135"/>
                </a:cubicBezTo>
                <a:cubicBezTo>
                  <a:pt x="36" y="135"/>
                  <a:pt x="36" y="135"/>
                  <a:pt x="36" y="135"/>
                </a:cubicBezTo>
                <a:cubicBezTo>
                  <a:pt x="16" y="135"/>
                  <a:pt x="0" y="118"/>
                  <a:pt x="0" y="98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16"/>
                  <a:pt x="16" y="0"/>
                  <a:pt x="36" y="0"/>
                </a:cubicBezTo>
                <a:cubicBezTo>
                  <a:pt x="134" y="0"/>
                  <a:pt x="134" y="0"/>
                  <a:pt x="134" y="0"/>
                </a:cubicBezTo>
                <a:lnTo>
                  <a:pt x="134" y="3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>
            <a:noFill/>
          </a:ln>
          <a:extLst/>
        </p:spPr>
        <p:txBody>
          <a:bodyPr/>
          <a:lstStyle/>
          <a:p>
            <a:pPr defTabSz="816337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4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30" name="Text Box 11"/>
          <p:cNvSpPr txBox="1">
            <a:spLocks noChangeArrowheads="1"/>
          </p:cNvSpPr>
          <p:nvPr/>
        </p:nvSpPr>
        <p:spPr bwMode="auto">
          <a:xfrm>
            <a:off x="1828003" y="4501450"/>
            <a:ext cx="5354638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16337">
              <a:lnSpc>
                <a:spcPct val="90000"/>
              </a:lnSpc>
              <a:defRPr/>
            </a:pPr>
            <a:r>
              <a:rPr lang="ru-RU" sz="1600" dirty="0" smtClean="0">
                <a:solidFill>
                  <a:srgbClr val="00478E"/>
                </a:solidFill>
              </a:rPr>
              <a:t>Мой ребенок идет в детский сад</a:t>
            </a:r>
            <a:endParaRPr lang="ru-RU" altLang="zh-CN" sz="1600" dirty="0">
              <a:solidFill>
                <a:srgbClr val="00478E"/>
              </a:solidFill>
            </a:endParaRPr>
          </a:p>
        </p:txBody>
      </p:sp>
      <p:sp>
        <p:nvSpPr>
          <p:cNvPr id="31" name="Freeform 21"/>
          <p:cNvSpPr>
            <a:spLocks/>
          </p:cNvSpPr>
          <p:nvPr/>
        </p:nvSpPr>
        <p:spPr bwMode="auto">
          <a:xfrm>
            <a:off x="1323947" y="4996252"/>
            <a:ext cx="287052" cy="301276"/>
          </a:xfrm>
          <a:custGeom>
            <a:avLst/>
            <a:gdLst>
              <a:gd name="T0" fmla="*/ 134 w 134"/>
              <a:gd name="T1" fmla="*/ 37 h 135"/>
              <a:gd name="T2" fmla="*/ 134 w 134"/>
              <a:gd name="T3" fmla="*/ 98 h 135"/>
              <a:gd name="T4" fmla="*/ 98 w 134"/>
              <a:gd name="T5" fmla="*/ 135 h 135"/>
              <a:gd name="T6" fmla="*/ 36 w 134"/>
              <a:gd name="T7" fmla="*/ 135 h 135"/>
              <a:gd name="T8" fmla="*/ 0 w 134"/>
              <a:gd name="T9" fmla="*/ 98 h 135"/>
              <a:gd name="T10" fmla="*/ 0 w 134"/>
              <a:gd name="T11" fmla="*/ 37 h 135"/>
              <a:gd name="T12" fmla="*/ 36 w 134"/>
              <a:gd name="T13" fmla="*/ 0 h 135"/>
              <a:gd name="T14" fmla="*/ 134 w 134"/>
              <a:gd name="T15" fmla="*/ 0 h 135"/>
              <a:gd name="T16" fmla="*/ 134 w 134"/>
              <a:gd name="T17" fmla="*/ 37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4" h="135">
                <a:moveTo>
                  <a:pt x="134" y="37"/>
                </a:moveTo>
                <a:cubicBezTo>
                  <a:pt x="134" y="98"/>
                  <a:pt x="134" y="98"/>
                  <a:pt x="134" y="98"/>
                </a:cubicBezTo>
                <a:cubicBezTo>
                  <a:pt x="134" y="118"/>
                  <a:pt x="118" y="135"/>
                  <a:pt x="98" y="135"/>
                </a:cubicBezTo>
                <a:cubicBezTo>
                  <a:pt x="36" y="135"/>
                  <a:pt x="36" y="135"/>
                  <a:pt x="36" y="135"/>
                </a:cubicBezTo>
                <a:cubicBezTo>
                  <a:pt x="16" y="135"/>
                  <a:pt x="0" y="118"/>
                  <a:pt x="0" y="98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16"/>
                  <a:pt x="16" y="0"/>
                  <a:pt x="36" y="0"/>
                </a:cubicBezTo>
                <a:cubicBezTo>
                  <a:pt x="134" y="0"/>
                  <a:pt x="134" y="0"/>
                  <a:pt x="134" y="0"/>
                </a:cubicBezTo>
                <a:lnTo>
                  <a:pt x="134" y="37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  <a:extLst/>
        </p:spPr>
        <p:txBody>
          <a:bodyPr/>
          <a:lstStyle/>
          <a:p>
            <a:pPr defTabSz="816337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4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32" name="Text Box 11"/>
          <p:cNvSpPr txBox="1">
            <a:spLocks noChangeArrowheads="1"/>
          </p:cNvSpPr>
          <p:nvPr/>
        </p:nvSpPr>
        <p:spPr bwMode="auto">
          <a:xfrm>
            <a:off x="1828003" y="4950786"/>
            <a:ext cx="5354638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16337">
              <a:lnSpc>
                <a:spcPct val="90000"/>
              </a:lnSpc>
              <a:defRPr/>
            </a:pPr>
            <a:r>
              <a:rPr lang="ru-RU" sz="1600" dirty="0" smtClean="0">
                <a:solidFill>
                  <a:srgbClr val="00478E"/>
                </a:solidFill>
              </a:rPr>
              <a:t>Мой ребенок идет в школу</a:t>
            </a:r>
            <a:endParaRPr lang="ru-RU" altLang="zh-CN" sz="1600" dirty="0">
              <a:solidFill>
                <a:srgbClr val="00478E"/>
              </a:solidFill>
            </a:endParaRPr>
          </a:p>
        </p:txBody>
      </p:sp>
      <p:sp>
        <p:nvSpPr>
          <p:cNvPr id="33" name="Text Box 11"/>
          <p:cNvSpPr txBox="1">
            <a:spLocks noChangeArrowheads="1"/>
          </p:cNvSpPr>
          <p:nvPr/>
        </p:nvSpPr>
        <p:spPr bwMode="auto">
          <a:xfrm>
            <a:off x="1828003" y="5400122"/>
            <a:ext cx="5354638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16337">
              <a:lnSpc>
                <a:spcPct val="90000"/>
              </a:lnSpc>
              <a:defRPr/>
            </a:pPr>
            <a:r>
              <a:rPr lang="ru-RU" sz="1600" dirty="0" smtClean="0">
                <a:solidFill>
                  <a:srgbClr val="00478E"/>
                </a:solidFill>
              </a:rPr>
              <a:t>Сенсорная перегрузка ребенка: как помочь? </a:t>
            </a:r>
            <a:endParaRPr lang="ru-RU" altLang="zh-CN" sz="1600" dirty="0">
              <a:solidFill>
                <a:srgbClr val="00478E"/>
              </a:solidFill>
            </a:endParaRPr>
          </a:p>
        </p:txBody>
      </p:sp>
      <p:sp>
        <p:nvSpPr>
          <p:cNvPr id="34" name="Text Box 11"/>
          <p:cNvSpPr txBox="1">
            <a:spLocks noChangeArrowheads="1"/>
          </p:cNvSpPr>
          <p:nvPr/>
        </p:nvSpPr>
        <p:spPr bwMode="auto">
          <a:xfrm>
            <a:off x="1828003" y="5849459"/>
            <a:ext cx="5354638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16337">
              <a:lnSpc>
                <a:spcPct val="90000"/>
              </a:lnSpc>
              <a:defRPr/>
            </a:pPr>
            <a:r>
              <a:rPr lang="ru-RU" sz="1600" dirty="0" smtClean="0">
                <a:solidFill>
                  <a:srgbClr val="00478E"/>
                </a:solidFill>
              </a:rPr>
              <a:t>Спорт дома – это возможно! </a:t>
            </a:r>
            <a:endParaRPr lang="ru-RU" altLang="zh-CN" sz="1600" dirty="0">
              <a:solidFill>
                <a:srgbClr val="00478E"/>
              </a:solidFill>
            </a:endParaRPr>
          </a:p>
        </p:txBody>
      </p:sp>
      <p:sp>
        <p:nvSpPr>
          <p:cNvPr id="35" name="Freeform 21"/>
          <p:cNvSpPr>
            <a:spLocks/>
          </p:cNvSpPr>
          <p:nvPr/>
        </p:nvSpPr>
        <p:spPr bwMode="auto">
          <a:xfrm>
            <a:off x="1323947" y="5428300"/>
            <a:ext cx="287052" cy="301276"/>
          </a:xfrm>
          <a:custGeom>
            <a:avLst/>
            <a:gdLst>
              <a:gd name="T0" fmla="*/ 134 w 134"/>
              <a:gd name="T1" fmla="*/ 37 h 135"/>
              <a:gd name="T2" fmla="*/ 134 w 134"/>
              <a:gd name="T3" fmla="*/ 98 h 135"/>
              <a:gd name="T4" fmla="*/ 98 w 134"/>
              <a:gd name="T5" fmla="*/ 135 h 135"/>
              <a:gd name="T6" fmla="*/ 36 w 134"/>
              <a:gd name="T7" fmla="*/ 135 h 135"/>
              <a:gd name="T8" fmla="*/ 0 w 134"/>
              <a:gd name="T9" fmla="*/ 98 h 135"/>
              <a:gd name="T10" fmla="*/ 0 w 134"/>
              <a:gd name="T11" fmla="*/ 37 h 135"/>
              <a:gd name="T12" fmla="*/ 36 w 134"/>
              <a:gd name="T13" fmla="*/ 0 h 135"/>
              <a:gd name="T14" fmla="*/ 134 w 134"/>
              <a:gd name="T15" fmla="*/ 0 h 135"/>
              <a:gd name="T16" fmla="*/ 134 w 134"/>
              <a:gd name="T17" fmla="*/ 37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4" h="135">
                <a:moveTo>
                  <a:pt x="134" y="37"/>
                </a:moveTo>
                <a:cubicBezTo>
                  <a:pt x="134" y="98"/>
                  <a:pt x="134" y="98"/>
                  <a:pt x="134" y="98"/>
                </a:cubicBezTo>
                <a:cubicBezTo>
                  <a:pt x="134" y="118"/>
                  <a:pt x="118" y="135"/>
                  <a:pt x="98" y="135"/>
                </a:cubicBezTo>
                <a:cubicBezTo>
                  <a:pt x="36" y="135"/>
                  <a:pt x="36" y="135"/>
                  <a:pt x="36" y="135"/>
                </a:cubicBezTo>
                <a:cubicBezTo>
                  <a:pt x="16" y="135"/>
                  <a:pt x="0" y="118"/>
                  <a:pt x="0" y="98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16"/>
                  <a:pt x="16" y="0"/>
                  <a:pt x="36" y="0"/>
                </a:cubicBezTo>
                <a:cubicBezTo>
                  <a:pt x="134" y="0"/>
                  <a:pt x="134" y="0"/>
                  <a:pt x="134" y="0"/>
                </a:cubicBezTo>
                <a:lnTo>
                  <a:pt x="134" y="37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  <a:extLst/>
        </p:spPr>
        <p:txBody>
          <a:bodyPr/>
          <a:lstStyle/>
          <a:p>
            <a:pPr defTabSz="816337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400" kern="0">
              <a:solidFill>
                <a:sysClr val="windowText" lastClr="000000"/>
              </a:solidFill>
              <a:cs typeface="+mn-cs"/>
            </a:endParaRPr>
          </a:p>
        </p:txBody>
      </p:sp>
      <p:sp>
        <p:nvSpPr>
          <p:cNvPr id="36" name="Freeform 21"/>
          <p:cNvSpPr>
            <a:spLocks/>
          </p:cNvSpPr>
          <p:nvPr/>
        </p:nvSpPr>
        <p:spPr bwMode="auto">
          <a:xfrm>
            <a:off x="1323947" y="5860348"/>
            <a:ext cx="287052" cy="301276"/>
          </a:xfrm>
          <a:custGeom>
            <a:avLst/>
            <a:gdLst>
              <a:gd name="T0" fmla="*/ 134 w 134"/>
              <a:gd name="T1" fmla="*/ 37 h 135"/>
              <a:gd name="T2" fmla="*/ 134 w 134"/>
              <a:gd name="T3" fmla="*/ 98 h 135"/>
              <a:gd name="T4" fmla="*/ 98 w 134"/>
              <a:gd name="T5" fmla="*/ 135 h 135"/>
              <a:gd name="T6" fmla="*/ 36 w 134"/>
              <a:gd name="T7" fmla="*/ 135 h 135"/>
              <a:gd name="T8" fmla="*/ 0 w 134"/>
              <a:gd name="T9" fmla="*/ 98 h 135"/>
              <a:gd name="T10" fmla="*/ 0 w 134"/>
              <a:gd name="T11" fmla="*/ 37 h 135"/>
              <a:gd name="T12" fmla="*/ 36 w 134"/>
              <a:gd name="T13" fmla="*/ 0 h 135"/>
              <a:gd name="T14" fmla="*/ 134 w 134"/>
              <a:gd name="T15" fmla="*/ 0 h 135"/>
              <a:gd name="T16" fmla="*/ 134 w 134"/>
              <a:gd name="T17" fmla="*/ 37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4" h="135">
                <a:moveTo>
                  <a:pt x="134" y="37"/>
                </a:moveTo>
                <a:cubicBezTo>
                  <a:pt x="134" y="98"/>
                  <a:pt x="134" y="98"/>
                  <a:pt x="134" y="98"/>
                </a:cubicBezTo>
                <a:cubicBezTo>
                  <a:pt x="134" y="118"/>
                  <a:pt x="118" y="135"/>
                  <a:pt x="98" y="135"/>
                </a:cubicBezTo>
                <a:cubicBezTo>
                  <a:pt x="36" y="135"/>
                  <a:pt x="36" y="135"/>
                  <a:pt x="36" y="135"/>
                </a:cubicBezTo>
                <a:cubicBezTo>
                  <a:pt x="16" y="135"/>
                  <a:pt x="0" y="118"/>
                  <a:pt x="0" y="98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16"/>
                  <a:pt x="16" y="0"/>
                  <a:pt x="36" y="0"/>
                </a:cubicBezTo>
                <a:cubicBezTo>
                  <a:pt x="134" y="0"/>
                  <a:pt x="134" y="0"/>
                  <a:pt x="134" y="0"/>
                </a:cubicBezTo>
                <a:lnTo>
                  <a:pt x="134" y="37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  <a:extLst/>
        </p:spPr>
        <p:txBody>
          <a:bodyPr/>
          <a:lstStyle/>
          <a:p>
            <a:pPr defTabSz="816337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400" kern="0">
              <a:solidFill>
                <a:sysClr val="windowText" lastClr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37137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9</TotalTime>
  <Words>629</Words>
  <Application>Microsoft Office PowerPoint</Application>
  <PresentationFormat>Произвольный</PresentationFormat>
  <Paragraphs>130</Paragraphs>
  <Slides>10</Slides>
  <Notes>8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1" baseType="lpstr">
      <vt:lpstr>Тема Office</vt:lpstr>
      <vt:lpstr>ПРОФЕССИОНАЛЬНАЯ СТАЖИРОВОЧНАЯ ПЛОЩАДКА: «Выездной микрореабилитационный центр»</vt:lpstr>
      <vt:lpstr>Ключевые направления работы БУ СО ВО «КЦСОН «Забота»</vt:lpstr>
      <vt:lpstr>Историческое развитие практики</vt:lpstr>
      <vt:lpstr>Слайд 4</vt:lpstr>
      <vt:lpstr>Ключевые аспекты обучения на стажировочной площадке  «Выездной микрореабилитационный центр»</vt:lpstr>
      <vt:lpstr>Методическое обеспечение стажировочной площадки  «Выездной микрореабилитационный центр»</vt:lpstr>
      <vt:lpstr>Форматы работы стажировочной площадки  «Выездной микрореабилитационный центр»</vt:lpstr>
      <vt:lpstr>Ключевые итоги проведения стажировочной площадки «Выездной микрореабилитационный центр» в 2020-2021 годах</vt:lpstr>
      <vt:lpstr>Практическая составляющая стажировочной площадки «Выездной микрореабилитационный центр» </vt:lpstr>
      <vt:lpstr>Контакты: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icrosoft Office User</dc:creator>
  <cp:lastModifiedBy>User</cp:lastModifiedBy>
  <cp:revision>31</cp:revision>
  <cp:lastPrinted>2022-08-18T11:14:10Z</cp:lastPrinted>
  <dcterms:created xsi:type="dcterms:W3CDTF">2022-08-05T09:44:51Z</dcterms:created>
  <dcterms:modified xsi:type="dcterms:W3CDTF">2022-09-29T10:22:23Z</dcterms:modified>
</cp:coreProperties>
</file>